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36.xml" ContentType="application/vnd.openxmlformats-officedocument.presentationml.slide+xml"/>
  <Override PartName="/ppt/notesSlides/notesSlide38.xml" ContentType="application/vnd.openxmlformats-officedocument.presentationml.notesSlide+xml"/>
  <Override PartName="/ppt/notesSlides/notesSlide49.xml" ContentType="application/vnd.openxmlformats-officedocument.presentationml.notes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notesSlides/notesSlide27.xml" ContentType="application/vnd.openxmlformats-officedocument.presentationml.notesSlide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notesSlides/notesSlide41.xml" ContentType="application/vnd.openxmlformats-officedocument.presentationml.notesSlide+xml"/>
  <Override PartName="/ppt/tags/tag52.xml" ContentType="application/vnd.openxmlformats-officedocument.presentationml.tags+xml"/>
  <Override PartName="/ppt/notesSlides/notesSlide30.xml" ContentType="application/vnd.openxmlformats-officedocument.presentationml.notesSlide+xml"/>
  <Override PartName="/ppt/tags/tag109.xml" ContentType="application/vnd.openxmlformats-officedocument.presentationml.tags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slides/slide55.xml" ContentType="application/vnd.openxmlformats-officedocument.presentationml.slide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33.xml" ContentType="application/vnd.openxmlformats-officedocument.presentationml.slide+xml"/>
  <Override PartName="/ppt/slides/slide44.xml" ContentType="application/vnd.openxmlformats-officedocument.presentationml.slide+xml"/>
  <Default Extension="emf" ContentType="image/x-emf"/>
  <Override PartName="/ppt/tags/tag68.xml" ContentType="application/vnd.openxmlformats-officedocument.presentationml.tags+xml"/>
  <Override PartName="/ppt/notesSlides/notesSlide46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notesSlides/notesSlide24.xml" ContentType="application/vnd.openxmlformats-officedocument.presentationml.notesSlide+xml"/>
  <Override PartName="/ppt/tags/tag57.xml" ContentType="application/vnd.openxmlformats-officedocument.presentationml.tags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notesSlides/notesSlide13.xml" ContentType="application/vnd.openxmlformats-officedocument.presentationml.notes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notesSlides/notesSlide20.xml" ContentType="application/vnd.openxmlformats-officedocument.presentationml.notesSlide+xml"/>
  <Override PartName="/ppt/tags/tag53.xml" ContentType="application/vnd.openxmlformats-officedocument.presentationml.tags+xml"/>
  <Override PartName="/ppt/notesSlides/notesSlide31.xml" ContentType="application/vnd.openxmlformats-officedocument.presentationml.notesSlide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notesSlides/notesSlide29.xml" ContentType="application/vnd.openxmlformats-officedocument.presentationml.notesSlid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notesSlides/notesSlide47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notesSlides/notesSlide36.xml" ContentType="application/vnd.openxmlformats-officedocument.presentationml.notesSlide+xml"/>
  <Override PartName="/ppt/tags/tag87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notesSlides/notesSlide25.xml" ContentType="application/vnd.openxmlformats-officedocument.presentationml.notesSlide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notesSlides/notesSlide43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notesSlides/notesSlide32.xml" ContentType="application/vnd.openxmlformats-officedocument.presentationml.notesSlide+xml"/>
  <Override PartName="/ppt/tags/tag8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21.xml" ContentType="application/vnd.openxmlformats-officedocument.presentationml.notesSlide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notesSlides/notesSlide19.xml" ContentType="application/vnd.openxmlformats-officedocument.presentationml.notes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notesSlides/notesSlide48.xml" ContentType="application/vnd.openxmlformats-officedocument.presentationml.notes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notesSlides/notesSlide37.xml" ContentType="application/vnd.openxmlformats-officedocument.presentationml.notesSlid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notesSlides/notesSlide26.xml" ContentType="application/vnd.openxmlformats-officedocument.presentationml.notesSlide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notesSlides/notesSlide44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notesSlides/notesSlide40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tags/tag11.xml" ContentType="application/vnd.openxmlformats-officedocument.presentationml.tags+xml"/>
  <Override PartName="/ppt/slides/slide29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notesSlides/notesSlide45.xml" ContentType="application/vnd.openxmlformats-officedocument.presentationml.notesSlide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notesSlides/notesSlide23.xml" ContentType="application/vnd.openxmlformats-officedocument.presentationml.notes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slides/slide48.xml" ContentType="application/vnd.openxmlformats-officedocument.presentationml.slide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notesSlides/notesSlide17.xml" ContentType="application/vnd.openxmlformats-officedocument.presentationml.notesSlide+xml"/>
  <Override PartName="/ppt/tags/tag39.xml" ContentType="application/vnd.openxmlformats-officedocument.presentationml.tags+xml"/>
  <Override PartName="/ppt/notesSlides/notesSlide28.xml" ContentType="application/vnd.openxmlformats-officedocument.presentationml.notesSlide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slides/slide51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notesSlides/notesSlide42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3"/>
  </p:notesMasterIdLst>
  <p:sldIdLst>
    <p:sldId id="256" r:id="rId2"/>
    <p:sldId id="321" r:id="rId3"/>
    <p:sldId id="350" r:id="rId4"/>
    <p:sldId id="349" r:id="rId5"/>
    <p:sldId id="290" r:id="rId6"/>
    <p:sldId id="291" r:id="rId7"/>
    <p:sldId id="292" r:id="rId8"/>
    <p:sldId id="293" r:id="rId9"/>
    <p:sldId id="279" r:id="rId10"/>
    <p:sldId id="280" r:id="rId11"/>
    <p:sldId id="281" r:id="rId12"/>
    <p:sldId id="282" r:id="rId13"/>
    <p:sldId id="283" r:id="rId14"/>
    <p:sldId id="284" r:id="rId15"/>
    <p:sldId id="285" r:id="rId16"/>
    <p:sldId id="286" r:id="rId17"/>
    <p:sldId id="287" r:id="rId18"/>
    <p:sldId id="288" r:id="rId19"/>
    <p:sldId id="262" r:id="rId20"/>
    <p:sldId id="263" r:id="rId21"/>
    <p:sldId id="289" r:id="rId22"/>
    <p:sldId id="265" r:id="rId23"/>
    <p:sldId id="266" r:id="rId24"/>
    <p:sldId id="355" r:id="rId25"/>
    <p:sldId id="352" r:id="rId26"/>
    <p:sldId id="342" r:id="rId27"/>
    <p:sldId id="343" r:id="rId28"/>
    <p:sldId id="344" r:id="rId29"/>
    <p:sldId id="347" r:id="rId30"/>
    <p:sldId id="346" r:id="rId31"/>
    <p:sldId id="257" r:id="rId32"/>
    <p:sldId id="260" r:id="rId33"/>
    <p:sldId id="261" r:id="rId34"/>
    <p:sldId id="264" r:id="rId35"/>
    <p:sldId id="364" r:id="rId36"/>
    <p:sldId id="271" r:id="rId37"/>
    <p:sldId id="277" r:id="rId38"/>
    <p:sldId id="311" r:id="rId39"/>
    <p:sldId id="340" r:id="rId40"/>
    <p:sldId id="331" r:id="rId41"/>
    <p:sldId id="334" r:id="rId42"/>
    <p:sldId id="335" r:id="rId43"/>
    <p:sldId id="336" r:id="rId44"/>
    <p:sldId id="339" r:id="rId45"/>
    <p:sldId id="361" r:id="rId46"/>
    <p:sldId id="360" r:id="rId47"/>
    <p:sldId id="362" r:id="rId48"/>
    <p:sldId id="316" r:id="rId49"/>
    <p:sldId id="322" r:id="rId50"/>
    <p:sldId id="324" r:id="rId51"/>
    <p:sldId id="303" r:id="rId52"/>
    <p:sldId id="317" r:id="rId53"/>
    <p:sldId id="318" r:id="rId54"/>
    <p:sldId id="306" r:id="rId55"/>
    <p:sldId id="307" r:id="rId56"/>
    <p:sldId id="308" r:id="rId57"/>
    <p:sldId id="309" r:id="rId58"/>
    <p:sldId id="329" r:id="rId59"/>
    <p:sldId id="359" r:id="rId60"/>
    <p:sldId id="314" r:id="rId61"/>
    <p:sldId id="302" r:id="rId62"/>
    <p:sldId id="295" r:id="rId63"/>
    <p:sldId id="296" r:id="rId64"/>
    <p:sldId id="299" r:id="rId65"/>
    <p:sldId id="300" r:id="rId66"/>
    <p:sldId id="301" r:id="rId67"/>
    <p:sldId id="356" r:id="rId68"/>
    <p:sldId id="357" r:id="rId69"/>
    <p:sldId id="358" r:id="rId70"/>
    <p:sldId id="341" r:id="rId71"/>
    <p:sldId id="267" r:id="rId72"/>
  </p:sldIdLst>
  <p:sldSz cx="9144000" cy="6858000" type="screen4x3"/>
  <p:notesSz cx="7315200" cy="96012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A500"/>
    <a:srgbClr val="FFFF89"/>
    <a:srgbClr val="005392"/>
    <a:srgbClr val="9932CC"/>
    <a:srgbClr val="03C03C"/>
    <a:srgbClr val="FF0090"/>
    <a:srgbClr val="00B7EB"/>
    <a:srgbClr val="FF9999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80" d="100"/>
          <a:sy n="80" d="100"/>
        </p:scale>
        <p:origin x="-2430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</a:defRPr>
            </a:lvl1pPr>
          </a:lstStyle>
          <a:p>
            <a:pPr>
              <a:defRPr/>
            </a:pPr>
            <a:fld id="{1A96A8BD-2E1F-4512-AD79-8AFCD426E9D2}" type="datetimeFigureOut">
              <a:rPr lang="en-US"/>
              <a:pPr>
                <a:defRPr/>
              </a:pPr>
              <a:t>2/22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560888"/>
            <a:ext cx="5851525" cy="4319587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</a:defRPr>
            </a:lvl1pPr>
          </a:lstStyle>
          <a:p>
            <a:pPr>
              <a:defRPr/>
            </a:pPr>
            <a:fld id="{B6B090A2-2932-4450-BB99-549E0E63C92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82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582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20582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51B0891-63FF-46BF-B2D5-1CD4B129AD3A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2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613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76131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18600"/>
            <a:ext cx="3170238" cy="4810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9516640-1A51-4221-9B18-1E2435D5C25A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2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33123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18600"/>
            <a:ext cx="3170238" cy="4810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7917C17-5DBA-4D9A-BBD4-32721B8A4D94}" type="slidenum">
              <a:rPr lang="ar-SA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6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517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824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38243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18600"/>
            <a:ext cx="3170238" cy="4810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6371557-3C4E-4BF0-939D-528558F65D47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131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41315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18600"/>
            <a:ext cx="3170238" cy="4810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D4D7A5B-F879-4F05-94D5-EBDBB98FDE40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438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44387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18600"/>
            <a:ext cx="3170238" cy="4810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8A5EF-2014-4372-B371-87BE9ECF453F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950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49507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18600"/>
            <a:ext cx="3170238" cy="4810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CECC28D-6C63-426C-A5AD-FD67CF0EBA09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155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0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5360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97A554B-FFBF-4EC5-9152-0038F0770A4A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059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10595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r-HR" smtClean="0">
              <a:solidFill>
                <a:srgbClr val="000000"/>
              </a:solidFill>
            </a:endParaRPr>
          </a:p>
        </p:txBody>
      </p:sp>
      <p:sp>
        <p:nvSpPr>
          <p:cNvPr id="110596" name="Date Placeholder 4"/>
          <p:cNvSpPr>
            <a:spLocks noGrp="1"/>
          </p:cNvSpPr>
          <p:nvPr>
            <p:ph type="dt" sz="quarter" idx="1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8990BFC-62BD-4CE5-9D34-46B546EBDC48}" type="datetime3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2 February 201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0597" name="Footer Placeholder 5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000000"/>
                </a:solidFill>
              </a:rPr>
              <a:t>HP Confidential</a:t>
            </a:r>
          </a:p>
        </p:txBody>
      </p:sp>
      <p:sp>
        <p:nvSpPr>
          <p:cNvPr id="110598" name="Slide Number Placeholder 6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78224E8-412B-4F7E-B7CD-C7DD319CD89C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5769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3391445-A148-4BB9-AF5B-EB1B2129F6CF}" type="slidenum">
              <a:rPr lang="en-GB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6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077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60771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18600"/>
            <a:ext cx="3170238" cy="4810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A5DA962-7CC4-49EB-B394-31AE22A3BDB9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4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311150" lvl="2" defTabSz="552450">
              <a:spcBef>
                <a:spcPts val="625"/>
              </a:spcBef>
              <a:spcAft>
                <a:spcPts val="625"/>
              </a:spcAft>
            </a:pPr>
            <a:endParaRPr lang="hr-HR" smtClean="0"/>
          </a:p>
        </p:txBody>
      </p:sp>
      <p:sp>
        <p:nvSpPr>
          <p:cNvPr id="163843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18600"/>
            <a:ext cx="3170238" cy="4810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4B28BF0-A78B-4AE9-821B-F6D06C17CD83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91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691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66915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18600"/>
            <a:ext cx="3170238" cy="4810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743AEDD-B46E-4BCC-869E-FF102C761D9B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998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311150" lvl="2" defTabSz="552450">
              <a:spcBef>
                <a:spcPts val="625"/>
              </a:spcBef>
              <a:spcAft>
                <a:spcPts val="625"/>
              </a:spcAft>
            </a:pPr>
            <a:endParaRPr lang="hr-HR" smtClean="0"/>
          </a:p>
        </p:txBody>
      </p:sp>
      <p:sp>
        <p:nvSpPr>
          <p:cNvPr id="169987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18600"/>
            <a:ext cx="3170238" cy="4810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BC67569-70B8-4AF6-8714-5CF98CA49DAD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715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77155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18600"/>
            <a:ext cx="3170238" cy="4810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9FCFDB0-2F27-4108-AA6A-F49421D8B5F5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5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2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022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80227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18600"/>
            <a:ext cx="3170238" cy="4810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EA94C74-F3AB-4E43-A5D2-2EFB48109395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6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227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8227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9F26B1E-06D8-44BA-BC1F-76D3E76A518A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37</a:t>
            </a:fld>
            <a:endParaRPr 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34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534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8534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EBB5CB8-B3E2-46D2-8AFA-28F58B4011FA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39</a:t>
            </a:fld>
            <a:endParaRPr 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39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739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8739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A1AF968-4402-4205-ABF3-9C0AE5665983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4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>
              <a:latin typeface="Arial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944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8944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F30B6BD-A258-4E24-8834-67274115630C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41</a:t>
            </a:fld>
            <a:endParaRPr 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8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149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9149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7CED62D-E0FB-4EE3-8D60-84EC3C183782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42</a:t>
            </a:fld>
            <a:endParaRPr 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53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353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9353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461C418-246B-4581-AF8C-22AC287B02E2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43</a:t>
            </a:fld>
            <a:endParaRPr lang="en-US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60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661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9661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95F31FA-CCA9-45FF-9231-29289446AA7D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44</a:t>
            </a:fld>
            <a:endParaRPr lang="en-US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65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865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198659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18600"/>
            <a:ext cx="3170238" cy="4810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463E9C2-52ED-44F6-BD60-42518E2B0129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45</a:t>
            </a:fld>
            <a:endParaRPr lang="en-US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70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070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200707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18600"/>
            <a:ext cx="3170238" cy="4810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73E6DC8-B6ED-45F0-A046-90ADAFD4FD3B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75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275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202755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18600"/>
            <a:ext cx="3170238" cy="4810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61299BE-A856-4B19-90A8-4917ED190F2D}" type="slidenum">
              <a:rPr lang="ar-SA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7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84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685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92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992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20992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CC86110-0C49-43BE-BF76-B3EE402469AB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016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220163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18600"/>
            <a:ext cx="3170238" cy="4810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5BB7F59-31DF-47ED-9A67-D0E38DF35475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8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13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913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>
              <a:latin typeface="Arial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28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22528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8ABDCA0-ACC4-4EBE-B054-E1BB7943FE45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1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2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733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22733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9D54482-1DC1-4F27-9ED6-C65B75BEB714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62</a:t>
            </a:fld>
            <a:endParaRPr lang="en-US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40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040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23040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E9A252A-33DD-46BF-9F4F-8E3B181FA4E3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63</a:t>
            </a:fld>
            <a:endParaRPr lang="en-US"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44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245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23245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3438031-784C-4000-AF3C-DE3203B0775E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64</a:t>
            </a:fld>
            <a:endParaRPr lang="en-US"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49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449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23449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9DB8B1B-006B-4EC6-BC34-ED1F928E6948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5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56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757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2375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A164259-E8C7-481B-82E5-3F9A2624F738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6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961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smtClean="0"/>
              <a:t>Vince to add speaker notes</a:t>
            </a:r>
          </a:p>
        </p:txBody>
      </p:sp>
      <p:sp>
        <p:nvSpPr>
          <p:cNvPr id="239619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r-HR" smtClean="0"/>
          </a:p>
        </p:txBody>
      </p:sp>
      <p:sp>
        <p:nvSpPr>
          <p:cNvPr id="239620" name="Date Placeholder 4"/>
          <p:cNvSpPr>
            <a:spLocks noGrp="1"/>
          </p:cNvSpPr>
          <p:nvPr>
            <p:ph type="dt" sz="quarter" idx="1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E651DF4-4F77-461A-AF85-607F802416EB}" type="datetime3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22 February 2013</a:t>
            </a:fld>
            <a:endParaRPr lang="en-US"/>
          </a:p>
        </p:txBody>
      </p:sp>
      <p:sp>
        <p:nvSpPr>
          <p:cNvPr id="239621" name="Footer Placeholder 5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HP Confidential</a:t>
            </a:r>
          </a:p>
        </p:txBody>
      </p:sp>
      <p:sp>
        <p:nvSpPr>
          <p:cNvPr id="239622" name="Slide Number Placeholder 6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0D47DED-6C62-4880-B149-DBAB5A26866E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67</a:t>
            </a:fld>
            <a:endParaRPr lang="en-US"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166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smtClean="0"/>
              <a:t>Vince to add speaker notes</a:t>
            </a:r>
          </a:p>
        </p:txBody>
      </p:sp>
      <p:sp>
        <p:nvSpPr>
          <p:cNvPr id="241667" name="Header Placeholder 3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r-HR" smtClean="0"/>
          </a:p>
        </p:txBody>
      </p:sp>
      <p:sp>
        <p:nvSpPr>
          <p:cNvPr id="241668" name="Date Placeholder 4"/>
          <p:cNvSpPr>
            <a:spLocks noGrp="1"/>
          </p:cNvSpPr>
          <p:nvPr>
            <p:ph type="dt" sz="quarter" idx="1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46ECA04-8C11-4938-8700-C0E22DC24500}" type="datetime3">
              <a:rPr lang="sr-Latn-CS"/>
              <a:pPr fontAlgn="base">
                <a:spcBef>
                  <a:spcPct val="0"/>
                </a:spcBef>
                <a:spcAft>
                  <a:spcPct val="0"/>
                </a:spcAft>
              </a:pPr>
              <a:t>22/2/13</a:t>
            </a:fld>
            <a:endParaRPr lang="sr-Latn-CS"/>
          </a:p>
        </p:txBody>
      </p:sp>
      <p:sp>
        <p:nvSpPr>
          <p:cNvPr id="241669" name="Footer Placeholder 5"/>
          <p:cNvSpPr>
            <a:spLocks noGrp="1"/>
          </p:cNvSpPr>
          <p:nvPr>
            <p:ph type="ftr" sz="quarter" idx="4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HP Confidential</a:t>
            </a:r>
          </a:p>
        </p:txBody>
      </p:sp>
      <p:sp>
        <p:nvSpPr>
          <p:cNvPr id="241670" name="Slide Number Placeholder 6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A415F8E-DCAC-4278-9A39-8C0D5FE49063}" type="slidenum">
              <a:rPr lang="sr-Latn-CS"/>
              <a:pPr fontAlgn="base">
                <a:spcBef>
                  <a:spcPct val="0"/>
                </a:spcBef>
                <a:spcAft>
                  <a:spcPct val="0"/>
                </a:spcAft>
              </a:pPr>
              <a:t>68</a:t>
            </a:fld>
            <a:endParaRPr lang="sr-Latn-CS"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71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713288" y="533400"/>
            <a:ext cx="2384425" cy="17891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371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9238" y="2519363"/>
            <a:ext cx="6832600" cy="271462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6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6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  <p:sp>
        <p:nvSpPr>
          <p:cNvPr id="24576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CA534EE-BB70-4300-96AC-6C6A355F6942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70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673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>
              <a:latin typeface="Arial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878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>
              <a:latin typeface="Arial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138488" y="271463"/>
            <a:ext cx="3832225" cy="28733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974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68288" y="3360738"/>
            <a:ext cx="6711950" cy="590232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88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88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589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hr-H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9D45A5-EAEF-427B-BDAD-4CA180D6EEB7}" type="datetimeFigureOut">
              <a:rPr lang="en-US"/>
              <a:pPr>
                <a:defRPr/>
              </a:pPr>
              <a:t>2/22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6A1A3D-0CB1-4C94-9988-A22057880E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878FC7-8EFF-464A-BE0F-7B16EC75756D}" type="datetimeFigureOut">
              <a:rPr lang="en-US"/>
              <a:pPr>
                <a:defRPr/>
              </a:pPr>
              <a:t>2/22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C6E71A-A37B-4BC6-839E-B7D1B610B66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211702-74DC-483A-AD4F-AC5A0010FB1D}" type="datetimeFigureOut">
              <a:rPr lang="en-US"/>
              <a:pPr>
                <a:defRPr/>
              </a:pPr>
              <a:t>2/22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38A824-6FA3-41B9-B421-5F9D07642D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494713" y="6254750"/>
            <a:ext cx="401637" cy="40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25" y="420625"/>
            <a:ext cx="8375650" cy="43973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74321" y="219075"/>
            <a:ext cx="8567224" cy="80006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95BF57-F21A-4520-9B9F-E92E376641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/>
            </a:lvl1pPr>
          </a:lstStyle>
          <a:p>
            <a:pPr>
              <a:defRPr/>
            </a:pPr>
            <a:r>
              <a:rPr lang="en-US"/>
              <a:t>HP Confidentia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5"/>
          <p:cNvSpPr txBox="1"/>
          <p:nvPr userDrawn="1"/>
        </p:nvSpPr>
        <p:spPr>
          <a:xfrm>
            <a:off x="328613" y="6386513"/>
            <a:ext cx="8013700" cy="304800"/>
          </a:xfrm>
          <a:prstGeom prst="rect">
            <a:avLst/>
          </a:prstGeom>
          <a:noFill/>
        </p:spPr>
        <p:txBody>
          <a:bodyPr l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>
                <a:solidFill>
                  <a:prstClr val="white"/>
                </a:solidFill>
                <a:latin typeface="+mn-lt"/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4" name="Picture 7" descr="HPR_White_RGB_150_SMno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504238" y="6265863"/>
            <a:ext cx="3556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56458"/>
            <a:ext cx="7222352" cy="2675604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90000"/>
              </a:lnSpc>
              <a:defRPr sz="4400" b="1" i="0" spc="-100" baseline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Only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34950" y="390144"/>
            <a:ext cx="8375650" cy="67198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749430"/>
            <a:ext cx="8229600" cy="5027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0" y="360198"/>
            <a:ext cx="8229600" cy="52322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1200" y="1747842"/>
            <a:ext cx="8466436" cy="3936485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5"/>
          </p:nvPr>
        </p:nvSpPr>
        <p:spPr>
          <a:xfrm>
            <a:off x="349250" y="6329363"/>
            <a:ext cx="182563" cy="165100"/>
          </a:xfrm>
        </p:spPr>
        <p:txBody>
          <a:bodyPr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defRPr sz="700">
                <a:solidFill>
                  <a:srgbClr val="C2C2C2"/>
                </a:solidFill>
                <a:latin typeface="Futura Bk"/>
              </a:defRPr>
            </a:lvl1pPr>
          </a:lstStyle>
          <a:p>
            <a:fld id="{AA27202C-8988-4CC1-8726-F7C89118CB0D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DD5545-A804-4A15-8D3D-4B94131EEDC3}" type="datetimeFigureOut">
              <a:rPr lang="en-US"/>
              <a:pPr>
                <a:defRPr/>
              </a:pPr>
              <a:t>2/22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E62CE0-A953-40AF-9857-5F1B9255B32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ACBDA3-BF02-496B-9627-EA0C9F7EE494}" type="datetimeFigureOut">
              <a:rPr lang="en-US"/>
              <a:pPr>
                <a:defRPr/>
              </a:pPr>
              <a:t>2/22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5EAC62-95CA-4405-861F-FACF9C68F43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A1061-73D5-433C-9C37-0A88483E55E4}" type="datetimeFigureOut">
              <a:rPr lang="en-US"/>
              <a:pPr>
                <a:defRPr/>
              </a:pPr>
              <a:t>2/22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185AC6-3DE7-445A-A12B-B5EC145427A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6D0E88-958B-436A-A233-C989C9EC4497}" type="datetimeFigureOut">
              <a:rPr lang="en-US"/>
              <a:pPr>
                <a:defRPr/>
              </a:pPr>
              <a:t>2/22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FB104-9F33-4FC0-8172-D46665719B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320166-4366-4126-946E-092E8711C7C4}" type="datetimeFigureOut">
              <a:rPr lang="en-US"/>
              <a:pPr>
                <a:defRPr/>
              </a:pPr>
              <a:t>2/22/201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93B838-24D2-4A7D-9BCA-D78596925D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4AD94B-7B64-44A3-8131-1AE39576DC01}" type="datetimeFigureOut">
              <a:rPr lang="en-US"/>
              <a:pPr>
                <a:defRPr/>
              </a:pPr>
              <a:t>2/22/20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C6AA84-F4F6-4100-BFD9-C3B0A18B28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5FAF7E-60AC-4EB4-920F-1364CFCB3E8C}" type="datetimeFigureOut">
              <a:rPr lang="en-US"/>
              <a:pPr>
                <a:defRPr/>
              </a:pPr>
              <a:t>2/22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46E6FE-9224-48AD-AE17-141B8B570CF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124B0E-7EF2-4A62-8120-3B5A0E08B085}" type="datetimeFigureOut">
              <a:rPr lang="en-US"/>
              <a:pPr>
                <a:defRPr/>
              </a:pPr>
              <a:t>2/22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A6760F-9E0D-488F-B7B5-86B8D62575C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53A929C-DE34-46F0-8E47-4B9965B3190C}" type="datetimeFigureOut">
              <a:rPr lang="en-US"/>
              <a:pPr>
                <a:defRPr/>
              </a:pPr>
              <a:t>2/22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7C43BC2-EC69-4C86-80E8-889B74DBC8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3" r:id="rId2"/>
    <p:sldLayoutId id="2147483662" r:id="rId3"/>
    <p:sldLayoutId id="2147483661" r:id="rId4"/>
    <p:sldLayoutId id="2147483660" r:id="rId5"/>
    <p:sldLayoutId id="2147483659" r:id="rId6"/>
    <p:sldLayoutId id="2147483658" r:id="rId7"/>
    <p:sldLayoutId id="2147483657" r:id="rId8"/>
    <p:sldLayoutId id="2147483656" r:id="rId9"/>
    <p:sldLayoutId id="2147483655" r:id="rId10"/>
    <p:sldLayoutId id="2147483654" r:id="rId11"/>
    <p:sldLayoutId id="2147483665" r:id="rId12"/>
    <p:sldLayoutId id="2147483666" r:id="rId13"/>
    <p:sldLayoutId id="2147483667" r:id="rId14"/>
    <p:sldLayoutId id="2147483668" r:id="rId15"/>
    <p:sldLayoutId id="2147483669" r:id="rId16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4.jpe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hyperlink" Target="http://www.google.co.il/imgres?imgurl=http://www.cmiper.com/wp-content/uploads/2008/07/punk-monochrome.jpg&amp;imgrefurl=http://www.cmiper.com/?p=422&amp;usg=__5afYxQ_RcOUh61DhmvVH7ZxVBOs=&amp;h=801&amp;w=1000&amp;sz=216&amp;hl=iw&amp;start=8&amp;zoom=1&amp;tbnid=vlDRPBr0aK0cNM:&amp;tbnh=119&amp;tbnw=149&amp;ei=JGYDT73kNM2a-gbkh7StDw&amp;prev=/search?q=monochrome&amp;hl=iw&amp;sa=X&amp;gbv=2&amp;tbm=isch&amp;prmd=ivns&amp;itbs=1" TargetMode="External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tags" Target="../tags/tag10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30.jpe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12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28.jpeg"/><Relationship Id="rId4" Type="http://schemas.openxmlformats.org/officeDocument/2006/relationships/tags" Target="../tags/tag11.xml"/><Relationship Id="rId9" Type="http://schemas.openxmlformats.org/officeDocument/2006/relationships/image" Target="../media/image2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2.jpe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4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6.xml"/><Relationship Id="rId10" Type="http://schemas.openxmlformats.org/officeDocument/2006/relationships/image" Target="../media/image34.jpeg"/><Relationship Id="rId4" Type="http://schemas.openxmlformats.org/officeDocument/2006/relationships/tags" Target="../tags/tag15.xml"/><Relationship Id="rId9" Type="http://schemas.openxmlformats.org/officeDocument/2006/relationships/image" Target="../media/image33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tags" Target="../tags/tag18.xml"/><Relationship Id="rId7" Type="http://schemas.openxmlformats.org/officeDocument/2006/relationships/oleObject" Target="../embeddings/oleObject6.bin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tags" Target="../tags/tag24.xml"/><Relationship Id="rId11" Type="http://schemas.openxmlformats.org/officeDocument/2006/relationships/image" Target="../media/image40.jpeg"/><Relationship Id="rId5" Type="http://schemas.openxmlformats.org/officeDocument/2006/relationships/tags" Target="../tags/tag23.xml"/><Relationship Id="rId10" Type="http://schemas.openxmlformats.org/officeDocument/2006/relationships/oleObject" Target="../embeddings/oleObject7.bin"/><Relationship Id="rId4" Type="http://schemas.openxmlformats.org/officeDocument/2006/relationships/tags" Target="../tags/tag22.xml"/><Relationship Id="rId9" Type="http://schemas.openxmlformats.org/officeDocument/2006/relationships/notesSlide" Target="../notesSlides/notesSlide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3.png"/><Relationship Id="rId7" Type="http://schemas.openxmlformats.org/officeDocument/2006/relationships/image" Target="../media/image40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6.emf"/><Relationship Id="rId5" Type="http://schemas.openxmlformats.org/officeDocument/2006/relationships/image" Target="../media/image45.emf"/><Relationship Id="rId4" Type="http://schemas.openxmlformats.org/officeDocument/2006/relationships/image" Target="../media/image44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image" Target="../media/image49.jpeg"/><Relationship Id="rId7" Type="http://schemas.openxmlformats.org/officeDocument/2006/relationships/image" Target="../media/image53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4" Type="http://schemas.openxmlformats.org/officeDocument/2006/relationships/image" Target="../media/image5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57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tags" Target="../tags/tag30.xml"/><Relationship Id="rId7" Type="http://schemas.openxmlformats.org/officeDocument/2006/relationships/oleObject" Target="../embeddings/oleObject9.bin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0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9.jpe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63.jpe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62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oleObject" Target="../embeddings/oleObject11.bin"/><Relationship Id="rId26" Type="http://schemas.openxmlformats.org/officeDocument/2006/relationships/image" Target="../media/image71.png"/><Relationship Id="rId3" Type="http://schemas.openxmlformats.org/officeDocument/2006/relationships/tags" Target="../tags/tag34.xml"/><Relationship Id="rId21" Type="http://schemas.openxmlformats.org/officeDocument/2006/relationships/image" Target="../media/image66.png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notesSlide" Target="../notesSlides/notesSlide24.xml"/><Relationship Id="rId25" Type="http://schemas.openxmlformats.org/officeDocument/2006/relationships/image" Target="../media/image70.png"/><Relationship Id="rId2" Type="http://schemas.openxmlformats.org/officeDocument/2006/relationships/tags" Target="../tags/tag33.xml"/><Relationship Id="rId16" Type="http://schemas.openxmlformats.org/officeDocument/2006/relationships/slideLayout" Target="../slideLayouts/slideLayout6.xml"/><Relationship Id="rId20" Type="http://schemas.openxmlformats.org/officeDocument/2006/relationships/image" Target="../media/image65.png"/><Relationship Id="rId29" Type="http://schemas.openxmlformats.org/officeDocument/2006/relationships/image" Target="../media/image74.png"/><Relationship Id="rId1" Type="http://schemas.openxmlformats.org/officeDocument/2006/relationships/vmlDrawing" Target="../drawings/vmlDrawing11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image" Target="../media/image69.png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image" Target="../media/image68.png"/><Relationship Id="rId28" Type="http://schemas.openxmlformats.org/officeDocument/2006/relationships/image" Target="../media/image73.png"/><Relationship Id="rId10" Type="http://schemas.openxmlformats.org/officeDocument/2006/relationships/tags" Target="../tags/tag41.xml"/><Relationship Id="rId19" Type="http://schemas.openxmlformats.org/officeDocument/2006/relationships/image" Target="../media/image64.png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image" Target="../media/image67.png"/><Relationship Id="rId27" Type="http://schemas.openxmlformats.org/officeDocument/2006/relationships/image" Target="../media/image72.png"/><Relationship Id="rId30" Type="http://schemas.openxmlformats.org/officeDocument/2006/relationships/image" Target="../media/image75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68.png"/><Relationship Id="rId3" Type="http://schemas.openxmlformats.org/officeDocument/2006/relationships/tags" Target="../tags/tag49.xml"/><Relationship Id="rId21" Type="http://schemas.openxmlformats.org/officeDocument/2006/relationships/image" Target="../media/image71.png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image" Target="../media/image67.png"/><Relationship Id="rId25" Type="http://schemas.openxmlformats.org/officeDocument/2006/relationships/image" Target="../media/image75.png"/><Relationship Id="rId2" Type="http://schemas.openxmlformats.org/officeDocument/2006/relationships/tags" Target="../tags/tag48.xml"/><Relationship Id="rId16" Type="http://schemas.openxmlformats.org/officeDocument/2006/relationships/image" Target="../media/image66.png"/><Relationship Id="rId20" Type="http://schemas.openxmlformats.org/officeDocument/2006/relationships/image" Target="../media/image70.png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24" Type="http://schemas.openxmlformats.org/officeDocument/2006/relationships/image" Target="../media/image74.png"/><Relationship Id="rId5" Type="http://schemas.openxmlformats.org/officeDocument/2006/relationships/tags" Target="../tags/tag51.xml"/><Relationship Id="rId15" Type="http://schemas.openxmlformats.org/officeDocument/2006/relationships/image" Target="../media/image65.png"/><Relationship Id="rId23" Type="http://schemas.openxmlformats.org/officeDocument/2006/relationships/image" Target="../media/image73.png"/><Relationship Id="rId10" Type="http://schemas.openxmlformats.org/officeDocument/2006/relationships/tags" Target="../tags/tag56.xml"/><Relationship Id="rId19" Type="http://schemas.openxmlformats.org/officeDocument/2006/relationships/image" Target="../media/image69.png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image" Target="../media/image77.jpeg"/><Relationship Id="rId22" Type="http://schemas.openxmlformats.org/officeDocument/2006/relationships/image" Target="../media/image7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57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jpeg"/><Relationship Id="rId3" Type="http://schemas.openxmlformats.org/officeDocument/2006/relationships/tags" Target="../tags/tag6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63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5.xml"/><Relationship Id="rId9" Type="http://schemas.openxmlformats.org/officeDocument/2006/relationships/image" Target="../media/image81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8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6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jpe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10" Type="http://schemas.openxmlformats.org/officeDocument/2006/relationships/image" Target="../media/image95.png"/><Relationship Id="rId4" Type="http://schemas.openxmlformats.org/officeDocument/2006/relationships/image" Target="../media/image89.png"/><Relationship Id="rId9" Type="http://schemas.openxmlformats.org/officeDocument/2006/relationships/image" Target="../media/image9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notesSlide" Target="../notesSlides/notesSlide33.xml"/><Relationship Id="rId2" Type="http://schemas.openxmlformats.org/officeDocument/2006/relationships/tags" Target="../tags/tag67.xml"/><Relationship Id="rId16" Type="http://schemas.openxmlformats.org/officeDocument/2006/relationships/image" Target="../media/image100.jpeg"/><Relationship Id="rId1" Type="http://schemas.openxmlformats.org/officeDocument/2006/relationships/vmlDrawing" Target="../drawings/vmlDrawing14.vml"/><Relationship Id="rId6" Type="http://schemas.openxmlformats.org/officeDocument/2006/relationships/tags" Target="../tags/tag71.xml"/><Relationship Id="rId11" Type="http://schemas.openxmlformats.org/officeDocument/2006/relationships/slideLayout" Target="../slideLayouts/slideLayout13.xml"/><Relationship Id="rId5" Type="http://schemas.openxmlformats.org/officeDocument/2006/relationships/tags" Target="../tags/tag70.xml"/><Relationship Id="rId15" Type="http://schemas.openxmlformats.org/officeDocument/2006/relationships/image" Target="../media/image99.jpeg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image" Target="../media/image98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jpeg"/><Relationship Id="rId3" Type="http://schemas.openxmlformats.org/officeDocument/2006/relationships/image" Target="../media/image59.jpeg"/><Relationship Id="rId7" Type="http://schemas.openxmlformats.org/officeDocument/2006/relationships/image" Target="../media/image10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4.png"/><Relationship Id="rId11" Type="http://schemas.openxmlformats.org/officeDocument/2006/relationships/image" Target="../media/image109.jpeg"/><Relationship Id="rId5" Type="http://schemas.openxmlformats.org/officeDocument/2006/relationships/image" Target="../media/image103.jpeg"/><Relationship Id="rId10" Type="http://schemas.openxmlformats.org/officeDocument/2006/relationships/image" Target="../media/image108.jpeg"/><Relationship Id="rId4" Type="http://schemas.openxmlformats.org/officeDocument/2006/relationships/image" Target="../media/image102.jpeg"/><Relationship Id="rId9" Type="http://schemas.openxmlformats.org/officeDocument/2006/relationships/image" Target="../media/image107.jpe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slideLayout" Target="../slideLayouts/slideLayout6.xml"/><Relationship Id="rId18" Type="http://schemas.openxmlformats.org/officeDocument/2006/relationships/image" Target="../media/image111.jpeg"/><Relationship Id="rId26" Type="http://schemas.openxmlformats.org/officeDocument/2006/relationships/image" Target="../media/image119.jpeg"/><Relationship Id="rId3" Type="http://schemas.openxmlformats.org/officeDocument/2006/relationships/tags" Target="../tags/tag77.xml"/><Relationship Id="rId21" Type="http://schemas.openxmlformats.org/officeDocument/2006/relationships/image" Target="../media/image114.png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image" Target="../media/image110.jpeg"/><Relationship Id="rId25" Type="http://schemas.openxmlformats.org/officeDocument/2006/relationships/image" Target="../media/image118.png"/><Relationship Id="rId2" Type="http://schemas.openxmlformats.org/officeDocument/2006/relationships/tags" Target="../tags/tag76.xml"/><Relationship Id="rId16" Type="http://schemas.openxmlformats.org/officeDocument/2006/relationships/slide" Target="slide35.xml"/><Relationship Id="rId20" Type="http://schemas.openxmlformats.org/officeDocument/2006/relationships/image" Target="../media/image113.jpeg"/><Relationship Id="rId1" Type="http://schemas.openxmlformats.org/officeDocument/2006/relationships/vmlDrawing" Target="../drawings/vmlDrawing15.v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24" Type="http://schemas.openxmlformats.org/officeDocument/2006/relationships/image" Target="../media/image117.jpeg"/><Relationship Id="rId5" Type="http://schemas.openxmlformats.org/officeDocument/2006/relationships/tags" Target="../tags/tag79.xml"/><Relationship Id="rId15" Type="http://schemas.openxmlformats.org/officeDocument/2006/relationships/oleObject" Target="../embeddings/oleObject15.bin"/><Relationship Id="rId23" Type="http://schemas.openxmlformats.org/officeDocument/2006/relationships/image" Target="../media/image116.jpeg"/><Relationship Id="rId28" Type="http://schemas.openxmlformats.org/officeDocument/2006/relationships/image" Target="../media/image29.png"/><Relationship Id="rId10" Type="http://schemas.openxmlformats.org/officeDocument/2006/relationships/tags" Target="../tags/tag84.xml"/><Relationship Id="rId19" Type="http://schemas.openxmlformats.org/officeDocument/2006/relationships/image" Target="../media/image112.jpeg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notesSlide" Target="../notesSlides/notesSlide36.xml"/><Relationship Id="rId22" Type="http://schemas.openxmlformats.org/officeDocument/2006/relationships/image" Target="../media/image115.png"/><Relationship Id="rId27" Type="http://schemas.openxmlformats.org/officeDocument/2006/relationships/image" Target="../media/image120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7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jpeg"/><Relationship Id="rId3" Type="http://schemas.openxmlformats.org/officeDocument/2006/relationships/tags" Target="../tags/tag89.xml"/><Relationship Id="rId7" Type="http://schemas.openxmlformats.org/officeDocument/2006/relationships/image" Target="../media/image122.jpeg"/><Relationship Id="rId2" Type="http://schemas.openxmlformats.org/officeDocument/2006/relationships/tags" Target="../tags/tag88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37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3" Type="http://schemas.openxmlformats.org/officeDocument/2006/relationships/tags" Target="../tags/tag91.xml"/><Relationship Id="rId7" Type="http://schemas.openxmlformats.org/officeDocument/2006/relationships/image" Target="../media/image4.jpeg"/><Relationship Id="rId2" Type="http://schemas.openxmlformats.org/officeDocument/2006/relationships/tags" Target="../tags/tag90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38.xml"/><Relationship Id="rId4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eg"/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2.png"/><Relationship Id="rId5" Type="http://schemas.openxmlformats.org/officeDocument/2006/relationships/image" Target="../media/image131.jpeg"/><Relationship Id="rId4" Type="http://schemas.openxmlformats.org/officeDocument/2006/relationships/image" Target="../media/image130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7" Type="http://schemas.openxmlformats.org/officeDocument/2006/relationships/image" Target="../media/image138.jpeg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7.png"/><Relationship Id="rId5" Type="http://schemas.openxmlformats.org/officeDocument/2006/relationships/image" Target="../media/image136.jpeg"/><Relationship Id="rId4" Type="http://schemas.openxmlformats.org/officeDocument/2006/relationships/image" Target="../media/image135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7" Type="http://schemas.openxmlformats.org/officeDocument/2006/relationships/image" Target="../media/image144.png"/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3.png"/><Relationship Id="rId5" Type="http://schemas.openxmlformats.org/officeDocument/2006/relationships/image" Target="../media/image142.png"/><Relationship Id="rId4" Type="http://schemas.openxmlformats.org/officeDocument/2006/relationships/image" Target="../media/image141.jpe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hyperlink" Target="http://en.wikipedia.org/wiki/File:1905DuPontMillpcardback.jpg" TargetMode="Externa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6.jpeg"/><Relationship Id="rId12" Type="http://schemas.openxmlformats.org/officeDocument/2006/relationships/image" Target="../media/image150.png"/><Relationship Id="rId2" Type="http://schemas.openxmlformats.org/officeDocument/2006/relationships/tags" Target="../tags/tag9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45.png"/><Relationship Id="rId11" Type="http://schemas.openxmlformats.org/officeDocument/2006/relationships/image" Target="../media/image149.jpe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148.png"/><Relationship Id="rId4" Type="http://schemas.openxmlformats.org/officeDocument/2006/relationships/notesSlide" Target="../notesSlides/notesSlide39.xml"/><Relationship Id="rId9" Type="http://schemas.openxmlformats.org/officeDocument/2006/relationships/image" Target="../media/image147.jpe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jpeg"/><Relationship Id="rId2" Type="http://schemas.openxmlformats.org/officeDocument/2006/relationships/image" Target="../media/image151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4.jpeg"/><Relationship Id="rId4" Type="http://schemas.openxmlformats.org/officeDocument/2006/relationships/image" Target="../media/image15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9.jpe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jpeg"/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94.xml"/><Relationship Id="rId7" Type="http://schemas.openxmlformats.org/officeDocument/2006/relationships/notesSlide" Target="../notesSlides/notesSlide40.xml"/><Relationship Id="rId2" Type="http://schemas.openxmlformats.org/officeDocument/2006/relationships/tags" Target="../tags/tag93.xml"/><Relationship Id="rId1" Type="http://schemas.openxmlformats.org/officeDocument/2006/relationships/vmlDrawing" Target="../drawings/vmlDrawing19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image" Target="../media/image157.jpe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7.xml"/><Relationship Id="rId4" Type="http://schemas.openxmlformats.org/officeDocument/2006/relationships/image" Target="../media/image86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159.jpeg"/><Relationship Id="rId2" Type="http://schemas.openxmlformats.org/officeDocument/2006/relationships/tags" Target="../tags/tag98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02.xml"/><Relationship Id="rId11" Type="http://schemas.openxmlformats.org/officeDocument/2006/relationships/image" Target="../media/image158.jpeg"/><Relationship Id="rId5" Type="http://schemas.openxmlformats.org/officeDocument/2006/relationships/tags" Target="../tags/tag101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100.xml"/><Relationship Id="rId9" Type="http://schemas.openxmlformats.org/officeDocument/2006/relationships/notesSlide" Target="../notesSlides/notesSlide4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57.jpeg"/><Relationship Id="rId4" Type="http://schemas.openxmlformats.org/officeDocument/2006/relationships/notesSlide" Target="../notesSlides/notesSlide43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160.png"/><Relationship Id="rId4" Type="http://schemas.openxmlformats.org/officeDocument/2006/relationships/notesSlide" Target="../notesSlides/notesSlide44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5.xml"/><Relationship Id="rId3" Type="http://schemas.openxmlformats.org/officeDocument/2006/relationships/tags" Target="../tags/tag109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10" Type="http://schemas.openxmlformats.org/officeDocument/2006/relationships/image" Target="../media/image161.jpeg"/><Relationship Id="rId4" Type="http://schemas.openxmlformats.org/officeDocument/2006/relationships/tags" Target="../tags/tag110.xml"/><Relationship Id="rId9" Type="http://schemas.openxmlformats.org/officeDocument/2006/relationships/oleObject" Target="../embeddings/oleObject21.bin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64.png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0.png"/><Relationship Id="rId13" Type="http://schemas.openxmlformats.org/officeDocument/2006/relationships/image" Target="../media/image175.png"/><Relationship Id="rId18" Type="http://schemas.openxmlformats.org/officeDocument/2006/relationships/image" Target="../media/image180.png"/><Relationship Id="rId3" Type="http://schemas.openxmlformats.org/officeDocument/2006/relationships/image" Target="../media/image165.jpeg"/><Relationship Id="rId7" Type="http://schemas.openxmlformats.org/officeDocument/2006/relationships/image" Target="../media/image169.png"/><Relationship Id="rId12" Type="http://schemas.openxmlformats.org/officeDocument/2006/relationships/image" Target="../media/image174.png"/><Relationship Id="rId17" Type="http://schemas.openxmlformats.org/officeDocument/2006/relationships/image" Target="../media/image179.png"/><Relationship Id="rId2" Type="http://schemas.openxmlformats.org/officeDocument/2006/relationships/notesSlide" Target="../notesSlides/notesSlide48.xml"/><Relationship Id="rId16" Type="http://schemas.openxmlformats.org/officeDocument/2006/relationships/image" Target="../media/image17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8.png"/><Relationship Id="rId11" Type="http://schemas.openxmlformats.org/officeDocument/2006/relationships/image" Target="../media/image173.png"/><Relationship Id="rId5" Type="http://schemas.openxmlformats.org/officeDocument/2006/relationships/image" Target="../media/image167.png"/><Relationship Id="rId15" Type="http://schemas.openxmlformats.org/officeDocument/2006/relationships/image" Target="../media/image177.png"/><Relationship Id="rId10" Type="http://schemas.openxmlformats.org/officeDocument/2006/relationships/image" Target="../media/image172.png"/><Relationship Id="rId19" Type="http://schemas.openxmlformats.org/officeDocument/2006/relationships/image" Target="../media/image181.png"/><Relationship Id="rId4" Type="http://schemas.openxmlformats.org/officeDocument/2006/relationships/image" Target="../media/image166.png"/><Relationship Id="rId9" Type="http://schemas.openxmlformats.org/officeDocument/2006/relationships/image" Target="../media/image171.png"/><Relationship Id="rId14" Type="http://schemas.openxmlformats.org/officeDocument/2006/relationships/image" Target="../media/image17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0.jpe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3.xml"/><Relationship Id="rId5" Type="http://schemas.openxmlformats.org/officeDocument/2006/relationships/image" Target="../media/image182.jpeg"/><Relationship Id="rId4" Type="http://schemas.openxmlformats.org/officeDocument/2006/relationships/hyperlink" Target="http://www.google.co.il/imgres?imgurl=http://asiabizz.com/wp-content/uploads/2010/09/unilever-alberto-culver.jpg&amp;imgrefurl=http://asiabizz.com/3478/unilever-to-take-over-alberto-culver-for-3-7-billion/&amp;usg=__CKk41sjKrW35MEgg74KxwKvsetI=&amp;h=567&amp;w=512&amp;sz=45&amp;hl=iw&amp;start=2&amp;zoom=1&amp;tbnid=Hl6ouTcm-Uh5iM:&amp;tbnh=134&amp;tbnw=121&amp;ei=MgX_TdnAIorz0gGb0bWwAw&amp;prev=/search?q=unilever&amp;um=1&amp;hl=iw&amp;sa=N&amp;rls=com.microsoft:*:IE-SearchBox&amp;rlz=1I7GGLL_en&amp;tbm=isch&amp;um=1&amp;itbs=1" TargetMode="Externa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9.jpeg"/><Relationship Id="rId13" Type="http://schemas.openxmlformats.org/officeDocument/2006/relationships/image" Target="../media/image194.jpeg"/><Relationship Id="rId3" Type="http://schemas.openxmlformats.org/officeDocument/2006/relationships/image" Target="../media/image184.jpeg"/><Relationship Id="rId7" Type="http://schemas.openxmlformats.org/officeDocument/2006/relationships/image" Target="../media/image188.jpeg"/><Relationship Id="rId12" Type="http://schemas.openxmlformats.org/officeDocument/2006/relationships/image" Target="../media/image193.jpeg"/><Relationship Id="rId2" Type="http://schemas.openxmlformats.org/officeDocument/2006/relationships/image" Target="../media/image18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7.jpeg"/><Relationship Id="rId11" Type="http://schemas.openxmlformats.org/officeDocument/2006/relationships/image" Target="../media/image192.jpeg"/><Relationship Id="rId5" Type="http://schemas.openxmlformats.org/officeDocument/2006/relationships/image" Target="../media/image186.jpeg"/><Relationship Id="rId15" Type="http://schemas.openxmlformats.org/officeDocument/2006/relationships/image" Target="../media/image196.jpeg"/><Relationship Id="rId10" Type="http://schemas.openxmlformats.org/officeDocument/2006/relationships/image" Target="../media/image191.jpeg"/><Relationship Id="rId4" Type="http://schemas.openxmlformats.org/officeDocument/2006/relationships/image" Target="../media/image185.jpeg"/><Relationship Id="rId9" Type="http://schemas.openxmlformats.org/officeDocument/2006/relationships/image" Target="../media/image190.jpeg"/><Relationship Id="rId14" Type="http://schemas.openxmlformats.org/officeDocument/2006/relationships/image" Target="../media/image19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1.jpe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hr-HR" smtClean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en-US"/>
          </a:p>
        </p:txBody>
      </p:sp>
      <p:pic>
        <p:nvPicPr>
          <p:cNvPr id="19459" name="Picture 3" descr="back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5"/>
          <p:cNvSpPr txBox="1">
            <a:spLocks noChangeArrowheads="1"/>
          </p:cNvSpPr>
          <p:nvPr/>
        </p:nvSpPr>
        <p:spPr>
          <a:xfrm>
            <a:off x="355600" y="1393825"/>
            <a:ext cx="6400800" cy="1752600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hr-HR" sz="3200" b="1" dirty="0">
                <a:solidFill>
                  <a:schemeClr val="bg1"/>
                </a:solidFill>
                <a:latin typeface="+mn-lt"/>
                <a:ea typeface="ＭＳ Ｐゴシック" charset="-128"/>
              </a:rPr>
              <a:t>d PRINT</a:t>
            </a:r>
            <a:endParaRPr lang="en-GB" sz="3200" b="1" dirty="0">
              <a:solidFill>
                <a:schemeClr val="bg1"/>
              </a:solidFill>
              <a:latin typeface="+mn-lt"/>
              <a:ea typeface="ＭＳ Ｐゴシック" charset="-128"/>
            </a:endParaRPr>
          </a:p>
          <a:p>
            <a:pPr fontAlgn="auto"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hr-HR" sz="1700" dirty="0">
                <a:solidFill>
                  <a:schemeClr val="bg1"/>
                </a:solidFill>
                <a:latin typeface="+mn-lt"/>
                <a:ea typeface="ＭＳ Ｐゴシック" charset="-128"/>
              </a:rPr>
              <a:t>21</a:t>
            </a:r>
            <a:r>
              <a:rPr lang="en-GB" sz="1700" dirty="0">
                <a:solidFill>
                  <a:schemeClr val="bg1"/>
                </a:solidFill>
                <a:latin typeface="+mn-lt"/>
                <a:ea typeface="ＭＳ Ｐゴシック" charset="-128"/>
              </a:rPr>
              <a:t>.</a:t>
            </a:r>
            <a:r>
              <a:rPr lang="hr-HR" sz="1700" dirty="0">
                <a:solidFill>
                  <a:schemeClr val="bg1"/>
                </a:solidFill>
                <a:latin typeface="+mn-lt"/>
                <a:ea typeface="ＭＳ Ｐゴシック" charset="-128"/>
              </a:rPr>
              <a:t>02.2013.</a:t>
            </a:r>
            <a:r>
              <a:rPr lang="en-GB" sz="3200" dirty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</a:rPr>
              <a:t/>
            </a:r>
            <a:br>
              <a:rPr lang="en-GB" sz="3200" dirty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</a:rPr>
            </a:br>
            <a:r>
              <a:rPr lang="en-GB" sz="3200" dirty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</a:rPr>
              <a:t/>
            </a:r>
            <a:br>
              <a:rPr lang="en-GB" sz="3200" dirty="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</a:rPr>
            </a:br>
            <a:r>
              <a:rPr lang="en-GB" sz="3200" dirty="0">
                <a:solidFill>
                  <a:schemeClr val="bg1"/>
                </a:solidFill>
                <a:latin typeface="+mn-lt"/>
                <a:ea typeface="ＭＳ Ｐゴシック" charset="-128"/>
              </a:rPr>
              <a:t>Goran Paži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17" name="Rectangle 2"/>
          <p:cNvSpPr>
            <a:spLocks noGrp="1" noChangeArrowheads="1"/>
          </p:cNvSpPr>
          <p:nvPr>
            <p:ph type="title"/>
          </p:nvPr>
        </p:nvSpPr>
        <p:spPr>
          <a:xfrm>
            <a:off x="711200" y="347663"/>
            <a:ext cx="6680200" cy="1190625"/>
          </a:xfrm>
        </p:spPr>
        <p:txBody>
          <a:bodyPr/>
          <a:lstStyle/>
          <a:p>
            <a:pPr>
              <a:lnSpc>
                <a:spcPct val="105000"/>
              </a:lnSpc>
            </a:pPr>
            <a:r>
              <a:rPr lang="hr-HR" sz="3600" b="1" smtClean="0">
                <a:latin typeface="Futura"/>
              </a:rPr>
              <a:t>Spot boje</a:t>
            </a:r>
            <a:r>
              <a:rPr lang="en-US" sz="2400" smtClean="0">
                <a:latin typeface="Futura"/>
              </a:rPr>
              <a:t/>
            </a:r>
            <a:br>
              <a:rPr lang="en-US" sz="2400" smtClean="0">
                <a:latin typeface="Futura"/>
              </a:rPr>
            </a:br>
            <a:r>
              <a:rPr lang="hr-HR" sz="2400" smtClean="0">
                <a:latin typeface="Futura"/>
              </a:rPr>
              <a:t>Točno podudaranje brand i korporativnih boja</a:t>
            </a:r>
            <a:br>
              <a:rPr lang="hr-HR" sz="2400" smtClean="0">
                <a:latin typeface="Futura"/>
              </a:rPr>
            </a:br>
            <a:endParaRPr lang="en-US" sz="2400" b="1" smtClean="0">
              <a:latin typeface="Futura"/>
            </a:endParaRPr>
          </a:p>
        </p:txBody>
      </p:sp>
      <p:sp>
        <p:nvSpPr>
          <p:cNvPr id="162818" name="Rectangle 3"/>
          <p:cNvSpPr>
            <a:spLocks noGrp="1" noChangeArrowheads="1"/>
          </p:cNvSpPr>
          <p:nvPr>
            <p:ph idx="1"/>
          </p:nvPr>
        </p:nvSpPr>
        <p:spPr>
          <a:xfrm>
            <a:off x="131763" y="1943100"/>
            <a:ext cx="6875462" cy="4838700"/>
          </a:xfrm>
        </p:spPr>
        <p:txBody>
          <a:bodyPr/>
          <a:lstStyle/>
          <a:p>
            <a:pPr>
              <a:lnSpc>
                <a:spcPct val="115000"/>
              </a:lnSpc>
            </a:pPr>
            <a:endParaRPr lang="hr-HR" sz="2000" smtClean="0">
              <a:latin typeface="Futura"/>
            </a:endParaRPr>
          </a:p>
          <a:p>
            <a:pPr>
              <a:lnSpc>
                <a:spcPct val="115000"/>
              </a:lnSpc>
            </a:pPr>
            <a:r>
              <a:rPr lang="hr-HR" sz="2000" smtClean="0">
                <a:latin typeface="Futura"/>
              </a:rPr>
              <a:t>Najširi raspon boja: do 97% </a:t>
            </a:r>
            <a:r>
              <a:rPr lang="en-US" sz="2000" smtClean="0">
                <a:latin typeface="Futura"/>
              </a:rPr>
              <a:t>PANTONE® color range </a:t>
            </a:r>
          </a:p>
          <a:p>
            <a:pPr>
              <a:lnSpc>
                <a:spcPct val="115000"/>
              </a:lnSpc>
            </a:pPr>
            <a:r>
              <a:rPr lang="hr-HR" sz="2000" smtClean="0">
                <a:latin typeface="Futura"/>
              </a:rPr>
              <a:t>Više od </a:t>
            </a:r>
            <a:r>
              <a:rPr lang="en-US" sz="2000" smtClean="0">
                <a:latin typeface="Futura"/>
              </a:rPr>
              <a:t>3000 PANTONE® </a:t>
            </a:r>
            <a:r>
              <a:rPr lang="hr-HR" sz="2000" smtClean="0">
                <a:latin typeface="Futura"/>
              </a:rPr>
              <a:t>boja</a:t>
            </a:r>
            <a:r>
              <a:rPr lang="en-US" sz="2000" smtClean="0">
                <a:latin typeface="Futura"/>
              </a:rPr>
              <a:t> </a:t>
            </a:r>
          </a:p>
          <a:p>
            <a:pPr>
              <a:lnSpc>
                <a:spcPct val="115000"/>
              </a:lnSpc>
            </a:pPr>
            <a:r>
              <a:rPr lang="hr-HR" sz="2000" smtClean="0">
                <a:latin typeface="Futura"/>
              </a:rPr>
              <a:t>Mogućnost narudžbe gotove boje ili samostalnim miješanjem uz </a:t>
            </a:r>
            <a:r>
              <a:rPr lang="en-US" sz="2000" smtClean="0">
                <a:latin typeface="Futura"/>
              </a:rPr>
              <a:t>IndiChrome Ink Mixing System</a:t>
            </a:r>
          </a:p>
        </p:txBody>
      </p:sp>
      <p:pic>
        <p:nvPicPr>
          <p:cNvPr id="162819" name="Picture 6" descr="Untitled-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62800" y="1447800"/>
            <a:ext cx="1674813" cy="2163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2820" name="Picture 7" descr="BMobileServVDP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96000" y="3733800"/>
            <a:ext cx="1873250" cy="2598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Content Placeholder 2"/>
          <p:cNvSpPr>
            <a:spLocks noGrp="1"/>
          </p:cNvSpPr>
          <p:nvPr>
            <p:ph idx="4294967295"/>
          </p:nvPr>
        </p:nvSpPr>
        <p:spPr>
          <a:xfrm>
            <a:off x="193675" y="1830388"/>
            <a:ext cx="6892925" cy="4113212"/>
          </a:xfrm>
        </p:spPr>
        <p:txBody>
          <a:bodyPr rtlCol="0">
            <a:normAutofit fontScale="92500" lnSpcReduction="20000"/>
          </a:bodyPr>
          <a:lstStyle/>
          <a:p>
            <a:pPr fontAlgn="auto">
              <a:lnSpc>
                <a:spcPct val="145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hr-HR" sz="2000" dirty="0" smtClean="0"/>
              <a:t>Pogodna za različite namijene</a:t>
            </a:r>
            <a:r>
              <a:rPr lang="en-US" sz="2000" dirty="0" smtClean="0"/>
              <a:t>:</a:t>
            </a:r>
          </a:p>
          <a:p>
            <a:pPr marL="800100" lvl="1" indent="-342900" fontAlgn="auto"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hr-HR" dirty="0" smtClean="0"/>
              <a:t>Čestitke</a:t>
            </a:r>
            <a:endParaRPr lang="en-US" dirty="0" smtClean="0"/>
          </a:p>
          <a:p>
            <a:pPr marL="800100" lvl="1" indent="-342900" fontAlgn="auto"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dirty="0" smtClean="0"/>
              <a:t>Point-of-sale</a:t>
            </a:r>
            <a:r>
              <a:rPr lang="hr-HR" dirty="0" smtClean="0"/>
              <a:t>, displeji za posebne ponude</a:t>
            </a:r>
            <a:r>
              <a:rPr lang="en-US" dirty="0" smtClean="0"/>
              <a:t> </a:t>
            </a:r>
          </a:p>
          <a:p>
            <a:pPr marL="800100" lvl="1" indent="-342900" fontAlgn="auto"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hr-HR" dirty="0" smtClean="0"/>
              <a:t>Znakovi za pročelja dućana</a:t>
            </a:r>
            <a:endParaRPr lang="en-US" dirty="0" smtClean="0"/>
          </a:p>
          <a:p>
            <a:pPr marL="800100" lvl="1" indent="-342900" fontAlgn="auto"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dirty="0" smtClean="0"/>
              <a:t>Dire</a:t>
            </a:r>
            <a:r>
              <a:rPr lang="hr-HR" dirty="0" smtClean="0"/>
              <a:t>k</a:t>
            </a:r>
            <a:r>
              <a:rPr lang="en-US" dirty="0" smtClean="0"/>
              <a:t>t mail </a:t>
            </a:r>
            <a:r>
              <a:rPr lang="hr-HR" dirty="0" smtClean="0"/>
              <a:t>kampanje</a:t>
            </a:r>
            <a:endParaRPr lang="en-US" dirty="0" smtClean="0"/>
          </a:p>
          <a:p>
            <a:pPr marL="800100" lvl="1" indent="-342900" fontAlgn="auto"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hr-HR" dirty="0" smtClean="0"/>
              <a:t>Specijalizirana pakiranje</a:t>
            </a:r>
            <a:r>
              <a:rPr lang="en-US" dirty="0" smtClean="0"/>
              <a:t>...</a:t>
            </a:r>
          </a:p>
          <a:p>
            <a:pPr marL="800100" lvl="1" indent="-342900" fontAlgn="auto">
              <a:spcAft>
                <a:spcPts val="0"/>
              </a:spcAft>
              <a:buFont typeface="Wingdings" pitchFamily="2" charset="2"/>
              <a:buChar char="§"/>
              <a:defRPr/>
            </a:pPr>
            <a:endParaRPr lang="en-US" dirty="0" smtClean="0"/>
          </a:p>
          <a:p>
            <a:pPr marL="800100" lvl="1" indent="-342900" fontAlgn="auto">
              <a:spcAft>
                <a:spcPts val="0"/>
              </a:spcAft>
              <a:buFont typeface="Wingdings" pitchFamily="2" charset="2"/>
              <a:buChar char="§"/>
              <a:defRPr/>
            </a:pPr>
            <a:endParaRPr lang="en-US" dirty="0" smtClean="0"/>
          </a:p>
          <a:p>
            <a:pPr fontAlgn="auto">
              <a:lnSpc>
                <a:spcPct val="145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hr-HR" sz="2000" dirty="0" smtClean="0"/>
              <a:t>Najrazličitije tiskovne podloge</a:t>
            </a:r>
            <a:endParaRPr lang="en-US" sz="2000" dirty="0" smtClean="0"/>
          </a:p>
          <a:p>
            <a:pPr marL="800100" lvl="1" indent="-342900" fontAlgn="auto"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hr-HR" dirty="0" smtClean="0"/>
              <a:t>Obojene, metalizirane, transparentne...</a:t>
            </a:r>
            <a:endParaRPr lang="en-US" sz="2000" dirty="0" smtClean="0"/>
          </a:p>
          <a:p>
            <a:pPr fontAlgn="auto">
              <a:lnSpc>
                <a:spcPct val="145000"/>
              </a:lnSpc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2000" dirty="0" smtClean="0"/>
          </a:p>
        </p:txBody>
      </p:sp>
      <p:pic>
        <p:nvPicPr>
          <p:cNvPr id="4" name="Picture 3" descr="WhiteInk-2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-534912">
            <a:off x="7386638" y="2741613"/>
            <a:ext cx="1420812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chemeClr val="bg1">
                <a:alpha val="39999"/>
              </a:schemeClr>
            </a:outerShdw>
          </a:effectLst>
        </p:spPr>
      </p:pic>
      <p:pic>
        <p:nvPicPr>
          <p:cNvPr id="5" name="Picture 4" descr="WhiteInk-1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23100" y="1535113"/>
            <a:ext cx="1074738" cy="909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chemeClr val="bg1">
                <a:alpha val="39999"/>
              </a:schemeClr>
            </a:outerShdw>
          </a:effectLst>
        </p:spPr>
      </p:pic>
      <p:sp>
        <p:nvSpPr>
          <p:cNvPr id="168964" name="Text Box 11"/>
          <p:cNvSpPr txBox="1">
            <a:spLocks noChangeArrowheads="1"/>
          </p:cNvSpPr>
          <p:nvPr/>
        </p:nvSpPr>
        <p:spPr bwMode="auto">
          <a:xfrm>
            <a:off x="134938" y="6491288"/>
            <a:ext cx="6945312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>
                <a:latin typeface="Calibri" pitchFamily="34" charset="0"/>
              </a:rPr>
              <a:t>* </a:t>
            </a:r>
            <a:r>
              <a:rPr lang="hr-HR" sz="1200">
                <a:latin typeface="Calibri" pitchFamily="34" charset="0"/>
              </a:rPr>
              <a:t>Raspoloživost ovisi o različitim HP Indigo strojevima</a:t>
            </a:r>
            <a:endParaRPr lang="en-US" sz="1200">
              <a:latin typeface="Calibri" pitchFamily="34" charset="0"/>
            </a:endParaRPr>
          </a:p>
          <a:p>
            <a:pPr>
              <a:spcBef>
                <a:spcPct val="50000"/>
              </a:spcBef>
            </a:pPr>
            <a:endParaRPr lang="en-US" sz="1200">
              <a:latin typeface="Calibri" pitchFamily="34" charset="0"/>
            </a:endParaRPr>
          </a:p>
        </p:txBody>
      </p:sp>
      <p:pic>
        <p:nvPicPr>
          <p:cNvPr id="168965" name="Picture 10" descr="3_PhotoPageWhiteInk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124700" y="4916488"/>
            <a:ext cx="1460500" cy="111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8966" name="Picture 14" descr="Geisha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962650" y="3297238"/>
            <a:ext cx="1454150" cy="1365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711200" y="347663"/>
            <a:ext cx="8432800" cy="1190625"/>
          </a:xfrm>
          <a:prstGeom prst="rect">
            <a:avLst/>
          </a:prstGeom>
        </p:spPr>
        <p:txBody>
          <a:bodyPr/>
          <a:lstStyle/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hr-HR" sz="3600" b="1" dirty="0">
                <a:latin typeface="Futura"/>
                <a:ea typeface="+mj-ea"/>
                <a:cs typeface="+mj-cs"/>
              </a:rPr>
              <a:t>Bijela boja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+mn-lt"/>
                <a:ea typeface="+mj-ea"/>
                <a:cs typeface="+mj-cs"/>
              </a:rPr>
              <a:t/>
            </a:r>
            <a:br>
              <a:rPr lang="en-US" b="1" dirty="0">
                <a:solidFill>
                  <a:schemeClr val="bg1">
                    <a:lumMod val="50000"/>
                  </a:schemeClr>
                </a:solidFill>
                <a:latin typeface="+mn-lt"/>
                <a:ea typeface="+mj-ea"/>
                <a:cs typeface="+mj-cs"/>
              </a:rPr>
            </a:br>
            <a:r>
              <a:rPr lang="hr-HR" sz="2400" dirty="0">
                <a:latin typeface="+mn-lt"/>
                <a:ea typeface="+mj-ea"/>
                <a:cs typeface="+mj-cs"/>
              </a:rPr>
              <a:t>Jedini digitalni stroj na arke s bijelom bojom</a:t>
            </a:r>
          </a:p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hr-HR" sz="2400" dirty="0">
                <a:latin typeface="+mn-lt"/>
                <a:ea typeface="+mj-ea"/>
                <a:cs typeface="+mj-cs"/>
              </a:rPr>
              <a:t>Za jedinstvene poslove s dodanom vrijednošću</a:t>
            </a:r>
            <a:endParaRPr lang="en-US" sz="2400" i="1" dirty="0">
              <a:solidFill>
                <a:schemeClr val="bg1">
                  <a:lumMod val="50000"/>
                </a:schemeClr>
              </a:solidFill>
              <a:latin typeface="+mn-lt"/>
              <a:ea typeface="+mj-ea"/>
              <a:cs typeface="+mj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Rectangle 6"/>
          <p:cNvGrpSpPr>
            <a:grpSpLocks/>
          </p:cNvGrpSpPr>
          <p:nvPr/>
        </p:nvGrpSpPr>
        <p:grpSpPr bwMode="auto">
          <a:xfrm>
            <a:off x="5480050" y="1158875"/>
            <a:ext cx="2957513" cy="4913313"/>
            <a:chOff x="3452" y="730"/>
            <a:chExt cx="1863" cy="3095"/>
          </a:xfrm>
        </p:grpSpPr>
        <p:pic>
          <p:nvPicPr>
            <p:cNvPr id="125953" name="Rectangle 6"/>
            <p:cNvPicPr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3452" y="730"/>
              <a:ext cx="1863" cy="3095"/>
            </a:xfrm>
            <a:prstGeom prst="rect">
              <a:avLst/>
            </a:prstGeom>
            <a:noFill/>
          </p:spPr>
        </p:pic>
        <p:sp>
          <p:nvSpPr>
            <p:cNvPr id="125954" name="Text Box 2"/>
            <p:cNvSpPr txBox="1">
              <a:spLocks noChangeArrowheads="1"/>
            </p:cNvSpPr>
            <p:nvPr/>
          </p:nvSpPr>
          <p:spPr bwMode="auto">
            <a:xfrm>
              <a:off x="3456" y="734"/>
              <a:ext cx="1855" cy="30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/>
              <a:endParaRPr lang="hr-HR">
                <a:latin typeface="Calibri" pitchFamily="34" charset="0"/>
              </a:endParaRPr>
            </a:p>
          </p:txBody>
        </p:sp>
      </p:grpSp>
      <p:sp>
        <p:nvSpPr>
          <p:cNvPr id="125956" name="Content Placeholder 2"/>
          <p:cNvSpPr>
            <a:spLocks noGrp="1"/>
          </p:cNvSpPr>
          <p:nvPr>
            <p:ph idx="4294967295"/>
          </p:nvPr>
        </p:nvSpPr>
        <p:spPr>
          <a:xfrm>
            <a:off x="125413" y="1874838"/>
            <a:ext cx="4903787" cy="4114800"/>
          </a:xfrm>
        </p:spPr>
        <p:txBody>
          <a:bodyPr/>
          <a:lstStyle/>
          <a:p>
            <a:pPr>
              <a:lnSpc>
                <a:spcPct val="115000"/>
              </a:lnSpc>
            </a:pPr>
            <a:r>
              <a:rPr lang="en-US" sz="2000" smtClean="0">
                <a:latin typeface="Futura"/>
              </a:rPr>
              <a:t>Light Cyan </a:t>
            </a:r>
            <a:r>
              <a:rPr lang="hr-HR" sz="2000" smtClean="0">
                <a:latin typeface="Futura"/>
              </a:rPr>
              <a:t>i</a:t>
            </a:r>
            <a:r>
              <a:rPr lang="en-US" sz="2000" smtClean="0">
                <a:latin typeface="Futura"/>
              </a:rPr>
              <a:t> </a:t>
            </a:r>
            <a:r>
              <a:rPr lang="hr-HR" sz="2000" smtClean="0">
                <a:latin typeface="Futura"/>
              </a:rPr>
              <a:t>L</a:t>
            </a:r>
            <a:r>
              <a:rPr lang="en-US" sz="2000" smtClean="0">
                <a:latin typeface="Futura"/>
              </a:rPr>
              <a:t>ight Magenta </a:t>
            </a:r>
            <a:r>
              <a:rPr lang="hr-HR" sz="2000" smtClean="0">
                <a:latin typeface="Futura"/>
              </a:rPr>
              <a:t>se koriste kao 5 i 6 kolorni modul na stroju</a:t>
            </a:r>
            <a:endParaRPr lang="en-US" sz="2000" smtClean="0">
              <a:latin typeface="Futura"/>
            </a:endParaRPr>
          </a:p>
          <a:p>
            <a:pPr lvl="1">
              <a:lnSpc>
                <a:spcPct val="115000"/>
              </a:lnSpc>
              <a:buFontTx/>
              <a:buChar char="•"/>
            </a:pPr>
            <a:endParaRPr lang="en-US" smtClean="0">
              <a:latin typeface="Futura"/>
            </a:endParaRPr>
          </a:p>
          <a:p>
            <a:pPr>
              <a:lnSpc>
                <a:spcPct val="115000"/>
              </a:lnSpc>
            </a:pPr>
            <a:r>
              <a:rPr lang="hr-HR" sz="2000" b="1" smtClean="0">
                <a:latin typeface="Futura"/>
              </a:rPr>
              <a:t>Prednosti</a:t>
            </a:r>
            <a:r>
              <a:rPr lang="en-US" sz="2000" b="1" smtClean="0">
                <a:latin typeface="Futura"/>
              </a:rPr>
              <a:t>:</a:t>
            </a:r>
          </a:p>
          <a:p>
            <a:pPr lvl="1">
              <a:lnSpc>
                <a:spcPct val="115000"/>
              </a:lnSpc>
              <a:buFont typeface="Wingdings" pitchFamily="2" charset="2"/>
              <a:buChar char="§"/>
            </a:pPr>
            <a:r>
              <a:rPr lang="hr-HR" sz="2400" smtClean="0">
                <a:latin typeface="Futura"/>
              </a:rPr>
              <a:t>Glađi prijelazi</a:t>
            </a:r>
            <a:endParaRPr lang="en-US" sz="2400" smtClean="0">
              <a:latin typeface="Futura"/>
            </a:endParaRPr>
          </a:p>
          <a:p>
            <a:pPr lvl="1">
              <a:lnSpc>
                <a:spcPct val="115000"/>
              </a:lnSpc>
              <a:buFont typeface="Wingdings" pitchFamily="2" charset="2"/>
              <a:buChar char="§"/>
            </a:pPr>
            <a:r>
              <a:rPr lang="hr-HR" sz="2400" smtClean="0">
                <a:latin typeface="Futura"/>
              </a:rPr>
              <a:t>Smanjena zrnatost</a:t>
            </a:r>
            <a:endParaRPr lang="en-US" sz="2400" smtClean="0">
              <a:latin typeface="Futura"/>
            </a:endParaRPr>
          </a:p>
          <a:p>
            <a:pPr lvl="1">
              <a:lnSpc>
                <a:spcPct val="115000"/>
              </a:lnSpc>
              <a:buFont typeface="Wingdings" pitchFamily="2" charset="2"/>
              <a:buChar char="§"/>
            </a:pPr>
            <a:r>
              <a:rPr lang="hr-HR" sz="2400" smtClean="0">
                <a:latin typeface="Futura"/>
              </a:rPr>
              <a:t>Foto “</a:t>
            </a:r>
            <a:r>
              <a:rPr lang="en-US" sz="2400" smtClean="0">
                <a:latin typeface="Futura"/>
              </a:rPr>
              <a:t>look and feel</a:t>
            </a:r>
            <a:r>
              <a:rPr lang="hr-HR" sz="2400" smtClean="0">
                <a:latin typeface="Futura"/>
              </a:rPr>
              <a:t>”</a:t>
            </a:r>
            <a:r>
              <a:rPr lang="en-US" sz="2400" smtClean="0">
                <a:latin typeface="Futura"/>
              </a:rPr>
              <a:t> </a:t>
            </a:r>
            <a:r>
              <a:rPr lang="hr-HR" sz="2400" smtClean="0">
                <a:latin typeface="Futura"/>
              </a:rPr>
              <a:t>s lakiranjem ili laminacijom</a:t>
            </a:r>
            <a:endParaRPr lang="en-US" sz="2400" smtClean="0">
              <a:latin typeface="Futura"/>
            </a:endParaRPr>
          </a:p>
        </p:txBody>
      </p:sp>
      <p:pic>
        <p:nvPicPr>
          <p:cNvPr id="125957" name="Picture 5" descr="horse_4colors"/>
          <p:cNvPicPr>
            <a:picLocks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26100" y="3770313"/>
            <a:ext cx="1252538" cy="211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5958" name="Picture 6" descr="horse_6colors"/>
          <p:cNvPicPr>
            <a:picLocks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023100" y="3760788"/>
            <a:ext cx="1252538" cy="212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5959" name="Picture 7" descr="hikey_1024"/>
          <p:cNvPicPr>
            <a:picLocks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999163" y="1379538"/>
            <a:ext cx="1706562" cy="163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5960" name="Oval Callout 9"/>
          <p:cNvSpPr>
            <a:spLocks noChangeArrowheads="1"/>
          </p:cNvSpPr>
          <p:nvPr/>
        </p:nvSpPr>
        <p:spPr bwMode="auto">
          <a:xfrm>
            <a:off x="6794500" y="1992313"/>
            <a:ext cx="454025" cy="547687"/>
          </a:xfrm>
          <a:prstGeom prst="wedgeEllipseCallout">
            <a:avLst>
              <a:gd name="adj1" fmla="val -11912"/>
              <a:gd name="adj2" fmla="val 335352"/>
            </a:avLst>
          </a:prstGeom>
          <a:solidFill>
            <a:schemeClr val="bg1">
              <a:alpha val="36862"/>
            </a:schemeClr>
          </a:solidFill>
          <a:ln w="38100" algn="ctr">
            <a:solidFill>
              <a:srgbClr val="CC0066"/>
            </a:solidFill>
            <a:round/>
            <a:headEnd/>
            <a:tailEnd/>
          </a:ln>
        </p:spPr>
        <p:txBody>
          <a:bodyPr/>
          <a:lstStyle/>
          <a:p>
            <a:pPr eaLnBrk="0" hangingPunct="0"/>
            <a:endParaRPr lang="hr-HR">
              <a:latin typeface="Calibri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70588" y="3167063"/>
            <a:ext cx="576262" cy="2444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latin typeface="+mn-lt"/>
                <a:ea typeface="MS PGothic"/>
              </a:rPr>
              <a:t>Befor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380288" y="3167063"/>
            <a:ext cx="576262" cy="2444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latin typeface="+mn-lt"/>
                <a:ea typeface="MS PGothic"/>
              </a:rPr>
              <a:t>After</a:t>
            </a:r>
          </a:p>
        </p:txBody>
      </p:sp>
      <p:sp>
        <p:nvSpPr>
          <p:cNvPr id="125963" name="Text Box 14"/>
          <p:cNvSpPr txBox="1">
            <a:spLocks noChangeArrowheads="1"/>
          </p:cNvSpPr>
          <p:nvPr/>
        </p:nvSpPr>
        <p:spPr bwMode="auto">
          <a:xfrm>
            <a:off x="134938" y="6491288"/>
            <a:ext cx="6945312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>
                <a:latin typeface="Calibri" pitchFamily="34" charset="0"/>
              </a:rPr>
              <a:t>* </a:t>
            </a:r>
            <a:r>
              <a:rPr lang="hr-HR" sz="1200">
                <a:latin typeface="Calibri" pitchFamily="34" charset="0"/>
              </a:rPr>
              <a:t>Raspoloživost ovisi o različitim HP Indigo strojevima</a:t>
            </a:r>
            <a:endParaRPr lang="en-US" sz="1200">
              <a:latin typeface="Calibri" pitchFamily="34" charset="0"/>
            </a:endParaRPr>
          </a:p>
          <a:p>
            <a:pPr>
              <a:spcBef>
                <a:spcPct val="50000"/>
              </a:spcBef>
            </a:pPr>
            <a:endParaRPr lang="en-US" sz="1200">
              <a:latin typeface="Calibri" pitchFamily="34" charset="0"/>
            </a:endParaRPr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>
          <a:xfrm>
            <a:off x="711200" y="333375"/>
            <a:ext cx="7989888" cy="1190625"/>
          </a:xfrm>
          <a:prstGeom prst="rect">
            <a:avLst/>
          </a:prstGeom>
        </p:spPr>
        <p:txBody>
          <a:bodyPr/>
          <a:lstStyle/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hr-HR" sz="3600" b="1" dirty="0">
                <a:latin typeface="+mn-lt"/>
                <a:ea typeface="+mj-ea"/>
                <a:cs typeface="+mj-cs"/>
              </a:rPr>
              <a:t>Boje za Foto aplikacije</a:t>
            </a:r>
            <a:r>
              <a:rPr lang="en-US" sz="3600" dirty="0">
                <a:latin typeface="+mn-lt"/>
                <a:ea typeface="+mj-ea"/>
                <a:cs typeface="+mj-cs"/>
              </a:rPr>
              <a:t/>
            </a:r>
            <a:br>
              <a:rPr lang="en-US" sz="3600" dirty="0">
                <a:latin typeface="+mn-lt"/>
                <a:ea typeface="+mj-ea"/>
                <a:cs typeface="+mj-cs"/>
              </a:rPr>
            </a:br>
            <a:r>
              <a:rPr lang="hr-HR" sz="2400" dirty="0">
                <a:latin typeface="Futura"/>
                <a:ea typeface="+mj-ea"/>
                <a:cs typeface="+mj-cs"/>
              </a:rPr>
              <a:t>Istinska fotografska kvaliteta</a:t>
            </a:r>
            <a:endParaRPr lang="en-US" sz="2400" dirty="0">
              <a:latin typeface="Futura"/>
              <a:ea typeface="+mj-ea"/>
              <a:cs typeface="+mj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70" name="think-cell Slide" r:id="rId5" imgW="360" imgH="360" progId="">
              <p:embed/>
            </p:oleObj>
          </a:graphicData>
        </a:graphic>
      </p:graphicFrame>
      <p:pic>
        <p:nvPicPr>
          <p:cNvPr id="7171" name="Picture 4" descr="http://t1.gstatic.com/images?q=tbn:ANd9GcTgTuYDU5THaEdPu8tG9isXNJPoprubTxPfUOps2tHBCIAsHkZ0FBbtZOg">
            <a:hlinkClick r:id="rId6"/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446713" y="2362200"/>
            <a:ext cx="2414587" cy="192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711200" y="347663"/>
            <a:ext cx="7989888" cy="1190625"/>
          </a:xfrm>
          <a:prstGeom prst="rect">
            <a:avLst/>
          </a:prstGeom>
        </p:spPr>
        <p:txBody>
          <a:bodyPr/>
          <a:lstStyle/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latin typeface="Futura"/>
                <a:ea typeface="+mj-ea"/>
                <a:cs typeface="+mj-cs"/>
              </a:rPr>
              <a:t>Light Black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+mn-lt"/>
                <a:ea typeface="+mj-ea"/>
                <a:cs typeface="+mj-cs"/>
              </a:rPr>
              <a:t/>
            </a:r>
            <a:br>
              <a:rPr lang="en-US" b="1" dirty="0">
                <a:solidFill>
                  <a:schemeClr val="bg1">
                    <a:lumMod val="50000"/>
                  </a:schemeClr>
                </a:solidFill>
                <a:latin typeface="+mn-lt"/>
                <a:ea typeface="+mj-ea"/>
                <a:cs typeface="+mj-cs"/>
              </a:rPr>
            </a:br>
            <a:r>
              <a:rPr lang="hr-HR" sz="2400" dirty="0">
                <a:latin typeface="Futura"/>
                <a:ea typeface="+mj-ea"/>
                <a:cs typeface="+mj-cs"/>
              </a:rPr>
              <a:t>Za visko kvalitetne jednobojne aplikacije</a:t>
            </a:r>
            <a:endParaRPr lang="en-US" sz="2400" i="1" dirty="0">
              <a:latin typeface="Futura"/>
              <a:ea typeface="+mj-ea"/>
              <a:cs typeface="+mj-cs"/>
            </a:endParaRPr>
          </a:p>
        </p:txBody>
      </p:sp>
      <p:sp>
        <p:nvSpPr>
          <p:cNvPr id="7173" name="Content Placeholder 2"/>
          <p:cNvSpPr txBox="1">
            <a:spLocks/>
          </p:cNvSpPr>
          <p:nvPr/>
        </p:nvSpPr>
        <p:spPr bwMode="auto">
          <a:xfrm>
            <a:off x="319088" y="1652588"/>
            <a:ext cx="511175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lnSpc>
                <a:spcPct val="115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hr-HR" sz="2000">
                <a:latin typeface="Futura"/>
              </a:rPr>
              <a:t>Poboljšanje kvalitete slike uz povećanje brzine tiska i smanjene troška otiska</a:t>
            </a:r>
          </a:p>
          <a:p>
            <a:pPr marL="342900" indent="-342900">
              <a:lnSpc>
                <a:spcPct val="115000"/>
              </a:lnSpc>
              <a:spcBef>
                <a:spcPct val="20000"/>
              </a:spcBef>
              <a:buFont typeface="Arial" charset="0"/>
              <a:buChar char="•"/>
            </a:pPr>
            <a:endParaRPr lang="en-US" sz="2000">
              <a:latin typeface="Futura"/>
            </a:endParaRPr>
          </a:p>
          <a:p>
            <a:pPr marL="342900" indent="-342900">
              <a:lnSpc>
                <a:spcPct val="115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hr-HR" sz="2000">
                <a:latin typeface="Futura"/>
              </a:rPr>
              <a:t>Dostupna kao spot boja</a:t>
            </a:r>
            <a:endParaRPr lang="en-US" sz="2000">
              <a:latin typeface="Futura"/>
            </a:endParaRPr>
          </a:p>
          <a:p>
            <a:pPr marL="342900" indent="-342900">
              <a:lnSpc>
                <a:spcPct val="115000"/>
              </a:lnSpc>
              <a:spcBef>
                <a:spcPct val="20000"/>
              </a:spcBef>
              <a:buFont typeface="Arial" charset="0"/>
              <a:buChar char="•"/>
            </a:pPr>
            <a:endParaRPr lang="en-US" sz="2000">
              <a:latin typeface="Futura"/>
            </a:endParaRPr>
          </a:p>
          <a:p>
            <a:pPr marL="342900" indent="-342900">
              <a:lnSpc>
                <a:spcPct val="115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hr-HR" sz="2000">
                <a:latin typeface="Futura"/>
              </a:rPr>
              <a:t>Primjenjiva za čiste crno – bijele poslove</a:t>
            </a:r>
            <a:endParaRPr lang="en-US" sz="2000">
              <a:latin typeface="Futura"/>
            </a:endParaRPr>
          </a:p>
          <a:p>
            <a:pPr marL="342900" indent="-342900">
              <a:lnSpc>
                <a:spcPct val="115000"/>
              </a:lnSpc>
              <a:spcBef>
                <a:spcPct val="20000"/>
              </a:spcBef>
              <a:buFont typeface="Arial" charset="0"/>
              <a:buChar char="•"/>
            </a:pPr>
            <a:endParaRPr lang="en-US" sz="2000">
              <a:latin typeface="Futura"/>
            </a:endParaRPr>
          </a:p>
          <a:p>
            <a:pPr marL="342900" indent="-342900">
              <a:lnSpc>
                <a:spcPct val="115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hr-HR" sz="2000">
                <a:latin typeface="Futura"/>
              </a:rPr>
              <a:t>Oko 25% niži trošak otiska</a:t>
            </a:r>
            <a:endParaRPr lang="en-US" sz="2000">
              <a:latin typeface="Futura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94" name="think-cell Slide" r:id="rId7" imgW="360" imgH="360" progId="">
              <p:embed/>
            </p:oleObj>
          </a:graphicData>
        </a:graphic>
      </p:graphicFrame>
      <p:sp>
        <p:nvSpPr>
          <p:cNvPr id="8195" name="Action Button: Custom 18">
            <a:hlinkClick r:id="" action="ppaction://noaction" highlightClick="1"/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340725" y="0"/>
            <a:ext cx="803275" cy="339725"/>
          </a:xfrm>
          <a:prstGeom prst="actionButtonBlank">
            <a:avLst/>
          </a:prstGeom>
          <a:noFill/>
          <a:ln w="19050" algn="ctr">
            <a:noFill/>
            <a:round/>
            <a:headEnd/>
            <a:tailEnd/>
          </a:ln>
        </p:spPr>
        <p:txBody>
          <a:bodyPr/>
          <a:lstStyle/>
          <a:p>
            <a:endParaRPr lang="hr-H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196" name="Text Box 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00038" y="1403350"/>
            <a:ext cx="8058150" cy="50736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342900" indent="-342900">
              <a:buFont typeface="Arial" charset="0"/>
              <a:buChar char="•"/>
            </a:pPr>
            <a:r>
              <a:rPr lang="hr-HR" sz="2000">
                <a:solidFill>
                  <a:srgbClr val="000000"/>
                </a:solidFill>
                <a:latin typeface="Futura Bk"/>
              </a:rPr>
              <a:t>Boja koja postaje vidljiva pod UV svjetlom</a:t>
            </a:r>
            <a:endParaRPr lang="en-US" sz="2000">
              <a:solidFill>
                <a:srgbClr val="000000"/>
              </a:solidFill>
              <a:latin typeface="Futura Bk"/>
            </a:endParaRPr>
          </a:p>
          <a:p>
            <a:pPr marL="342900" indent="-342900">
              <a:buFont typeface="Arial" charset="0"/>
              <a:buChar char="•"/>
            </a:pPr>
            <a:endParaRPr lang="en-US" sz="2000">
              <a:solidFill>
                <a:srgbClr val="000000"/>
              </a:solidFill>
              <a:latin typeface="Futura Bk"/>
            </a:endParaRPr>
          </a:p>
          <a:p>
            <a:pPr marL="342900" indent="-342900">
              <a:buFont typeface="Arial" charset="0"/>
              <a:buChar char="•"/>
            </a:pPr>
            <a:r>
              <a:rPr lang="hr-HR" sz="2000">
                <a:solidFill>
                  <a:srgbClr val="000000"/>
                </a:solidFill>
                <a:latin typeface="Futura Bk"/>
              </a:rPr>
              <a:t>Za sigurnosne aplikacije:</a:t>
            </a:r>
            <a:r>
              <a:rPr lang="en-US" sz="2000">
                <a:solidFill>
                  <a:srgbClr val="000000"/>
                </a:solidFill>
                <a:latin typeface="Futura Bk"/>
              </a:rPr>
              <a:t> 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hr-HR">
                <a:solidFill>
                  <a:srgbClr val="000000"/>
                </a:solidFill>
                <a:latin typeface="Futura Bk"/>
              </a:rPr>
              <a:t>Identifikacijske iskaznice</a:t>
            </a:r>
            <a:endParaRPr lang="en-US">
              <a:solidFill>
                <a:srgbClr val="000000"/>
              </a:solidFill>
              <a:latin typeface="Futura Bk"/>
            </a:endParaRPr>
          </a:p>
          <a:p>
            <a:pPr marL="800100" lvl="1" indent="-342900">
              <a:buFont typeface="Wingdings" pitchFamily="2" charset="2"/>
              <a:buChar char="§"/>
            </a:pPr>
            <a:r>
              <a:rPr lang="hr-HR">
                <a:solidFill>
                  <a:srgbClr val="000000"/>
                </a:solidFill>
                <a:latin typeface="Futura Bk"/>
              </a:rPr>
              <a:t>Kreditne kartice</a:t>
            </a:r>
            <a:endParaRPr lang="en-US">
              <a:solidFill>
                <a:srgbClr val="000000"/>
              </a:solidFill>
              <a:latin typeface="Futura Bk"/>
            </a:endParaRPr>
          </a:p>
          <a:p>
            <a:pPr marL="800100" lvl="1" indent="-342900">
              <a:buFont typeface="Wingdings" pitchFamily="2" charset="2"/>
              <a:buChar char="§"/>
            </a:pPr>
            <a:r>
              <a:rPr lang="hr-HR">
                <a:solidFill>
                  <a:srgbClr val="000000"/>
                </a:solidFill>
                <a:latin typeface="Futura Bk"/>
              </a:rPr>
              <a:t>Kartice vjernosti</a:t>
            </a:r>
            <a:endParaRPr lang="en-US">
              <a:solidFill>
                <a:srgbClr val="000000"/>
              </a:solidFill>
              <a:latin typeface="Futura Bk"/>
            </a:endParaRPr>
          </a:p>
          <a:p>
            <a:pPr marL="800100" lvl="1" indent="-342900">
              <a:buFont typeface="Wingdings" pitchFamily="2" charset="2"/>
              <a:buChar char="§"/>
            </a:pPr>
            <a:r>
              <a:rPr lang="hr-HR">
                <a:solidFill>
                  <a:srgbClr val="000000"/>
                </a:solidFill>
                <a:latin typeface="Futura Bk"/>
              </a:rPr>
              <a:t>Kuponi</a:t>
            </a:r>
            <a:endParaRPr lang="en-US">
              <a:solidFill>
                <a:srgbClr val="000000"/>
              </a:solidFill>
              <a:latin typeface="Futura Bk"/>
            </a:endParaRPr>
          </a:p>
          <a:p>
            <a:pPr marL="800100" lvl="1" indent="-342900">
              <a:buFont typeface="Wingdings" pitchFamily="2" charset="2"/>
              <a:buChar char="§"/>
            </a:pPr>
            <a:r>
              <a:rPr lang="hr-HR">
                <a:solidFill>
                  <a:srgbClr val="000000"/>
                </a:solidFill>
                <a:latin typeface="Futura Bk"/>
              </a:rPr>
              <a:t>Ulaznice</a:t>
            </a:r>
            <a:endParaRPr lang="en-US">
              <a:solidFill>
                <a:srgbClr val="000000"/>
              </a:solidFill>
              <a:latin typeface="Futura Bk"/>
            </a:endParaRPr>
          </a:p>
          <a:p>
            <a:pPr marL="800100" lvl="1" indent="-342900">
              <a:buFont typeface="Wingdings" pitchFamily="2" charset="2"/>
              <a:buChar char="§"/>
            </a:pPr>
            <a:r>
              <a:rPr lang="hr-HR">
                <a:solidFill>
                  <a:srgbClr val="000000"/>
                </a:solidFill>
                <a:latin typeface="Futura Bk"/>
              </a:rPr>
              <a:t>Nevidljivi barkod</a:t>
            </a:r>
            <a:endParaRPr lang="en-US">
              <a:solidFill>
                <a:srgbClr val="000000"/>
              </a:solidFill>
              <a:latin typeface="Futura Bk"/>
            </a:endParaRPr>
          </a:p>
          <a:p>
            <a:pPr marL="342900" indent="-342900">
              <a:buFont typeface="Arial" charset="0"/>
              <a:buChar char="•"/>
            </a:pPr>
            <a:endParaRPr lang="en-US" sz="2000">
              <a:solidFill>
                <a:srgbClr val="000000"/>
              </a:solidFill>
              <a:latin typeface="Futura Bk"/>
            </a:endParaRPr>
          </a:p>
          <a:p>
            <a:pPr marL="342900" indent="-342900">
              <a:buFont typeface="Arial" charset="0"/>
              <a:buChar char="•"/>
            </a:pPr>
            <a:r>
              <a:rPr lang="hr-HR" sz="2000">
                <a:solidFill>
                  <a:srgbClr val="000000"/>
                </a:solidFill>
                <a:latin typeface="Futura Bk"/>
              </a:rPr>
              <a:t>Za strojeve HP Indigo WS4600, HP </a:t>
            </a:r>
            <a:r>
              <a:rPr lang="en-US" sz="2000">
                <a:solidFill>
                  <a:srgbClr val="000000"/>
                </a:solidFill>
                <a:latin typeface="Futura Bk"/>
              </a:rPr>
              <a:t>Indigo 5600 </a:t>
            </a:r>
            <a:r>
              <a:rPr lang="hr-HR" sz="2000">
                <a:solidFill>
                  <a:srgbClr val="000000"/>
                </a:solidFill>
                <a:latin typeface="Futura Bk"/>
              </a:rPr>
              <a:t>i</a:t>
            </a:r>
            <a:r>
              <a:rPr lang="en-US" sz="2000">
                <a:solidFill>
                  <a:srgbClr val="000000"/>
                </a:solidFill>
                <a:latin typeface="Futura Bk"/>
              </a:rPr>
              <a:t> </a:t>
            </a:r>
            <a:r>
              <a:rPr lang="hr-HR" sz="2000">
                <a:solidFill>
                  <a:srgbClr val="000000"/>
                </a:solidFill>
                <a:latin typeface="Futura Bk"/>
              </a:rPr>
              <a:t>HP </a:t>
            </a:r>
            <a:r>
              <a:rPr lang="en-US" sz="2000">
                <a:solidFill>
                  <a:srgbClr val="000000"/>
                </a:solidFill>
                <a:latin typeface="Futura Bk"/>
              </a:rPr>
              <a:t>Indigo 5500</a:t>
            </a:r>
          </a:p>
          <a:p>
            <a:pPr marL="800100" lvl="1" indent="-342900">
              <a:buFont typeface="Wingdings" pitchFamily="2" charset="2"/>
              <a:buChar char="§"/>
            </a:pPr>
            <a:endParaRPr lang="en-US" sz="2400">
              <a:solidFill>
                <a:srgbClr val="000000"/>
              </a:solidFill>
              <a:latin typeface="Futura Bk"/>
            </a:endParaRPr>
          </a:p>
          <a:p>
            <a:pPr marL="800100" lvl="1" indent="-342900">
              <a:buFont typeface="Arial" charset="0"/>
              <a:buChar char="•"/>
            </a:pPr>
            <a:endParaRPr lang="en-US" sz="2400">
              <a:solidFill>
                <a:srgbClr val="000000"/>
              </a:solidFill>
              <a:latin typeface="Futura Bk"/>
            </a:endParaRPr>
          </a:p>
        </p:txBody>
      </p:sp>
      <p:sp>
        <p:nvSpPr>
          <p:cNvPr id="8197" name="Rectangle 15"/>
          <p:cNvSpPr>
            <a:spLocks noChangeArrowheads="1"/>
          </p:cNvSpPr>
          <p:nvPr/>
        </p:nvSpPr>
        <p:spPr bwMode="auto">
          <a:xfrm>
            <a:off x="4594225" y="2741613"/>
            <a:ext cx="4338638" cy="1508125"/>
          </a:xfrm>
          <a:prstGeom prst="rect">
            <a:avLst/>
          </a:prstGeom>
          <a:solidFill>
            <a:schemeClr val="bg1"/>
          </a:solidFill>
          <a:ln w="19050" algn="ctr">
            <a:noFill/>
            <a:round/>
            <a:headEnd/>
            <a:tailEnd/>
          </a:ln>
        </p:spPr>
        <p:txBody>
          <a:bodyPr/>
          <a:lstStyle/>
          <a:p>
            <a:endParaRPr lang="hr-HR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8198" name="Picture 2" descr="http://www.printondemandltd.com/print/securityprint/pho/numbered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378575" y="4699000"/>
            <a:ext cx="1527175" cy="152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9" name="Picture 18" descr="http://www.pkeng.net.au/images/certification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570038" y="5130800"/>
            <a:ext cx="1343025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0" name="Picture 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700588" y="5148263"/>
            <a:ext cx="847725" cy="92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1" name="Picture 4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 rot="1605921">
            <a:off x="3846513" y="4745038"/>
            <a:ext cx="1158875" cy="173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2" name="Picture 1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4714875" y="2601913"/>
            <a:ext cx="3513138" cy="153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2"/>
          <p:cNvSpPr txBox="1">
            <a:spLocks noChangeArrowheads="1"/>
          </p:cNvSpPr>
          <p:nvPr/>
        </p:nvSpPr>
        <p:spPr>
          <a:xfrm>
            <a:off x="711200" y="320675"/>
            <a:ext cx="7989888" cy="1190625"/>
          </a:xfrm>
          <a:prstGeom prst="rect">
            <a:avLst/>
          </a:prstGeom>
        </p:spPr>
        <p:txBody>
          <a:bodyPr/>
          <a:lstStyle/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latin typeface="Futura"/>
                <a:ea typeface="+mj-ea"/>
                <a:cs typeface="+mj-cs"/>
              </a:rPr>
              <a:t>HP </a:t>
            </a:r>
            <a:r>
              <a:rPr lang="en-US" sz="3600" b="1" dirty="0" err="1">
                <a:latin typeface="Futura"/>
                <a:ea typeface="+mj-ea"/>
                <a:cs typeface="+mj-cs"/>
              </a:rPr>
              <a:t>ElectroInk</a:t>
            </a:r>
            <a:r>
              <a:rPr lang="en-US" sz="3600" b="1" dirty="0">
                <a:latin typeface="Futura"/>
                <a:ea typeface="+mj-ea"/>
                <a:cs typeface="+mj-cs"/>
              </a:rPr>
              <a:t> UV </a:t>
            </a:r>
            <a:r>
              <a:rPr lang="hr-HR" sz="3600" b="1" dirty="0">
                <a:latin typeface="Futura"/>
                <a:ea typeface="+mj-ea"/>
                <a:cs typeface="+mj-cs"/>
              </a:rPr>
              <a:t>Crvena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+mn-lt"/>
                <a:ea typeface="+mj-ea"/>
                <a:cs typeface="+mj-cs"/>
              </a:rPr>
              <a:t/>
            </a:r>
            <a:br>
              <a:rPr lang="en-US" b="1" dirty="0">
                <a:solidFill>
                  <a:schemeClr val="bg1">
                    <a:lumMod val="50000"/>
                  </a:schemeClr>
                </a:solidFill>
                <a:latin typeface="+mn-lt"/>
                <a:ea typeface="+mj-ea"/>
                <a:cs typeface="+mj-cs"/>
              </a:rPr>
            </a:br>
            <a:r>
              <a:rPr lang="hr-HR" sz="2400" dirty="0">
                <a:latin typeface="Futura"/>
                <a:ea typeface="+mj-ea"/>
                <a:cs typeface="+mj-cs"/>
              </a:rPr>
              <a:t>Za s</a:t>
            </a:r>
            <a:r>
              <a:rPr lang="hr-HR" sz="2400" i="1" dirty="0">
                <a:latin typeface="Futura"/>
                <a:ea typeface="+mj-ea"/>
                <a:cs typeface="+mj-cs"/>
              </a:rPr>
              <a:t>igurnosne aplikacije</a:t>
            </a:r>
            <a:endParaRPr lang="en-US" sz="2400" i="1" dirty="0">
              <a:latin typeface="Futura"/>
              <a:ea typeface="+mj-ea"/>
              <a:cs typeface="+mj-cs"/>
            </a:endParaRPr>
          </a:p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400" b="1" i="1" dirty="0">
              <a:solidFill>
                <a:schemeClr val="bg1">
                  <a:lumMod val="50000"/>
                </a:schemeClr>
              </a:solidFill>
              <a:latin typeface="Futura Bk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5" name="Content Placeholder 2"/>
          <p:cNvSpPr>
            <a:spLocks noGrp="1"/>
          </p:cNvSpPr>
          <p:nvPr>
            <p:ph idx="4294967295"/>
          </p:nvPr>
        </p:nvSpPr>
        <p:spPr>
          <a:xfrm>
            <a:off x="269875" y="1743075"/>
            <a:ext cx="6005513" cy="4113213"/>
          </a:xfrm>
        </p:spPr>
        <p:txBody>
          <a:bodyPr/>
          <a:lstStyle/>
          <a:p>
            <a:pPr>
              <a:lnSpc>
                <a:spcPct val="115000"/>
              </a:lnSpc>
            </a:pPr>
            <a:r>
              <a:rPr lang="hr-HR" sz="2000" smtClean="0">
                <a:latin typeface="Futura"/>
              </a:rPr>
              <a:t>Kontrast u odnosu na sjaj otisnute boje</a:t>
            </a:r>
            <a:endParaRPr lang="en-US" sz="2000" smtClean="0">
              <a:latin typeface="Futura"/>
            </a:endParaRPr>
          </a:p>
          <a:p>
            <a:pPr>
              <a:lnSpc>
                <a:spcPct val="115000"/>
              </a:lnSpc>
            </a:pPr>
            <a:endParaRPr lang="en-US" sz="2000" smtClean="0">
              <a:latin typeface="Futura"/>
            </a:endParaRPr>
          </a:p>
          <a:p>
            <a:pPr>
              <a:lnSpc>
                <a:spcPct val="115000"/>
              </a:lnSpc>
            </a:pPr>
            <a:r>
              <a:rPr lang="hr-HR" sz="2000" smtClean="0">
                <a:latin typeface="Futura"/>
              </a:rPr>
              <a:t>Beskrajne kreativne mogućnosti za marketinške materijale</a:t>
            </a:r>
            <a:endParaRPr lang="en-US" sz="2000" smtClean="0">
              <a:latin typeface="Futura"/>
            </a:endParaRPr>
          </a:p>
          <a:p>
            <a:pPr>
              <a:lnSpc>
                <a:spcPct val="115000"/>
              </a:lnSpc>
            </a:pPr>
            <a:endParaRPr lang="en-US" sz="2000" smtClean="0">
              <a:latin typeface="Futura"/>
            </a:endParaRPr>
          </a:p>
          <a:p>
            <a:pPr>
              <a:lnSpc>
                <a:spcPct val="115000"/>
              </a:lnSpc>
            </a:pPr>
            <a:r>
              <a:rPr lang="hr-HR" sz="2000" smtClean="0">
                <a:latin typeface="Futura"/>
              </a:rPr>
              <a:t>Alternativa za ofsetno spot lakiranje</a:t>
            </a:r>
            <a:r>
              <a:rPr lang="en-US" sz="2000" smtClean="0">
                <a:latin typeface="Futura"/>
              </a:rPr>
              <a:t>:</a:t>
            </a:r>
          </a:p>
          <a:p>
            <a:pPr marL="800100" lvl="1" indent="-342900">
              <a:buFont typeface="Wingdings" pitchFamily="2" charset="2"/>
              <a:buChar char="§"/>
            </a:pPr>
            <a:r>
              <a:rPr lang="hr-HR" sz="2000" smtClean="0">
                <a:latin typeface="Futura"/>
              </a:rPr>
              <a:t>Niži trošak za manje naklade</a:t>
            </a:r>
            <a:endParaRPr lang="en-US" sz="2000" smtClean="0">
              <a:latin typeface="Futura"/>
            </a:endParaRPr>
          </a:p>
          <a:p>
            <a:pPr marL="800100" lvl="1" indent="-342900">
              <a:buFont typeface="Wingdings" pitchFamily="2" charset="2"/>
              <a:buChar char="§"/>
            </a:pPr>
            <a:r>
              <a:rPr lang="hr-HR" sz="2000" smtClean="0">
                <a:latin typeface="Futura"/>
              </a:rPr>
              <a:t>Brzo, bez pre-press pripreme</a:t>
            </a:r>
            <a:r>
              <a:rPr lang="en-US" sz="2000" smtClean="0">
                <a:latin typeface="Futura"/>
              </a:rPr>
              <a:t> print-on-the-fly </a:t>
            </a:r>
            <a:br>
              <a:rPr lang="en-US" sz="2000" smtClean="0">
                <a:latin typeface="Futura"/>
              </a:rPr>
            </a:br>
            <a:endParaRPr lang="en-US" sz="2000" smtClean="0">
              <a:latin typeface="Futura"/>
            </a:endParaRPr>
          </a:p>
        </p:txBody>
      </p:sp>
      <p:pic>
        <p:nvPicPr>
          <p:cNvPr id="134146" name="Picture 6" descr="Digital matte10042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57925" y="2274888"/>
            <a:ext cx="2500313" cy="2243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4147" name="Text Box 9"/>
          <p:cNvSpPr txBox="1">
            <a:spLocks noChangeArrowheads="1"/>
          </p:cNvSpPr>
          <p:nvPr/>
        </p:nvSpPr>
        <p:spPr bwMode="auto">
          <a:xfrm>
            <a:off x="134938" y="6491288"/>
            <a:ext cx="6945312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>
                <a:latin typeface="Calibri" pitchFamily="34" charset="0"/>
              </a:rPr>
              <a:t>* Availability depends on specific presses </a:t>
            </a:r>
          </a:p>
          <a:p>
            <a:pPr>
              <a:spcBef>
                <a:spcPct val="50000"/>
              </a:spcBef>
            </a:pPr>
            <a:endParaRPr lang="en-US" sz="1200">
              <a:latin typeface="Calibri" pitchFamily="34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711200" y="347663"/>
            <a:ext cx="7989888" cy="1190625"/>
          </a:xfrm>
          <a:prstGeom prst="rect">
            <a:avLst/>
          </a:prstGeom>
        </p:spPr>
        <p:txBody>
          <a:bodyPr/>
          <a:lstStyle/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latin typeface="Futura"/>
                <a:ea typeface="+mj-ea"/>
                <a:cs typeface="+mj-cs"/>
              </a:rPr>
              <a:t>Digital Matte ink 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+mn-lt"/>
                <a:ea typeface="+mj-ea"/>
                <a:cs typeface="+mj-cs"/>
              </a:rPr>
              <a:t/>
            </a:r>
            <a:br>
              <a:rPr lang="en-US" b="1" dirty="0">
                <a:solidFill>
                  <a:schemeClr val="bg1">
                    <a:lumMod val="50000"/>
                  </a:schemeClr>
                </a:solidFill>
                <a:latin typeface="+mn-lt"/>
                <a:ea typeface="+mj-ea"/>
                <a:cs typeface="+mj-cs"/>
              </a:rPr>
            </a:br>
            <a:r>
              <a:rPr lang="en-US" sz="1600" b="1" i="1" dirty="0">
                <a:solidFill>
                  <a:schemeClr val="bg1">
                    <a:lumMod val="50000"/>
                  </a:schemeClr>
                </a:solidFill>
                <a:latin typeface="+mn-lt"/>
                <a:ea typeface="+mj-ea"/>
                <a:cs typeface="+mj-cs"/>
              </a:rPr>
              <a:t> </a:t>
            </a:r>
            <a:r>
              <a:rPr lang="hr-HR" sz="2400" dirty="0">
                <a:latin typeface="Futura"/>
                <a:ea typeface="+mj-ea"/>
                <a:cs typeface="+mj-cs"/>
              </a:rPr>
              <a:t>Za sofisticiran glos efekt</a:t>
            </a:r>
            <a:r>
              <a:rPr lang="hr-HR" sz="1600" b="1" i="1" dirty="0">
                <a:solidFill>
                  <a:schemeClr val="bg1">
                    <a:lumMod val="50000"/>
                  </a:schemeClr>
                </a:solidFill>
                <a:latin typeface="+mn-lt"/>
                <a:ea typeface="+mj-ea"/>
                <a:cs typeface="+mj-cs"/>
              </a:rPr>
              <a:t> </a:t>
            </a:r>
            <a:endParaRPr lang="en-US" sz="1600" b="1" i="1" dirty="0">
              <a:solidFill>
                <a:schemeClr val="bg1">
                  <a:lumMod val="50000"/>
                </a:schemeClr>
              </a:solidFill>
              <a:latin typeface="+mn-lt"/>
              <a:ea typeface="+mj-ea"/>
              <a:cs typeface="+mj-cs"/>
            </a:endParaRPr>
          </a:p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400" b="1" i="1" dirty="0">
              <a:solidFill>
                <a:schemeClr val="bg1">
                  <a:lumMod val="50000"/>
                </a:schemeClr>
              </a:solidFill>
              <a:latin typeface="Futura Bk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218" name="think-cell Slide" r:id="rId5" imgW="360" imgH="360" progId="">
              <p:embed/>
            </p:oleObj>
          </a:graphicData>
        </a:graphic>
      </p:graphicFrame>
      <p:pic>
        <p:nvPicPr>
          <p:cNvPr id="9219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526088" y="2530475"/>
            <a:ext cx="3154362" cy="2014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711200" y="347663"/>
            <a:ext cx="7989888" cy="1190625"/>
          </a:xfrm>
          <a:prstGeom prst="rect">
            <a:avLst/>
          </a:prstGeom>
        </p:spPr>
        <p:txBody>
          <a:bodyPr/>
          <a:lstStyle/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hr-HR" sz="3600" b="1" dirty="0">
                <a:latin typeface="Futura"/>
                <a:ea typeface="+mj-ea"/>
                <a:cs typeface="+mj-cs"/>
              </a:rPr>
              <a:t>Novi efekti za daljnju diferencijaciju</a:t>
            </a:r>
            <a:endParaRPr lang="en-US" sz="3600" b="1" i="1" dirty="0">
              <a:latin typeface="Futura"/>
              <a:ea typeface="+mj-ea"/>
              <a:cs typeface="+mj-cs"/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319088" y="1652588"/>
            <a:ext cx="5111750" cy="4114800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342900" indent="-342900" fontAlgn="auto">
              <a:lnSpc>
                <a:spcPct val="115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000" dirty="0">
                <a:latin typeface="Futura"/>
              </a:rPr>
              <a:t>Textured Effects – </a:t>
            </a:r>
            <a:r>
              <a:rPr lang="hr-HR" sz="2000" dirty="0">
                <a:latin typeface="Futura"/>
              </a:rPr>
              <a:t>kreiranje efekta slijepog tiska na digitalnom stroju koristeći digitalno kreiranu matricu</a:t>
            </a:r>
            <a:endParaRPr lang="en-US" sz="2000" dirty="0">
              <a:latin typeface="Futura"/>
            </a:endParaRPr>
          </a:p>
          <a:p>
            <a:pPr marL="342900" indent="-342900" fontAlgn="auto">
              <a:lnSpc>
                <a:spcPct val="115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2000" dirty="0">
              <a:latin typeface="Futura"/>
            </a:endParaRPr>
          </a:p>
          <a:p>
            <a:pPr marL="342900" indent="-342900" fontAlgn="auto">
              <a:lnSpc>
                <a:spcPct val="115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000" dirty="0">
                <a:latin typeface="Futura"/>
              </a:rPr>
              <a:t>Raised Print – </a:t>
            </a:r>
            <a:r>
              <a:rPr lang="hr-HR" sz="2000" dirty="0">
                <a:latin typeface="Futura"/>
              </a:rPr>
              <a:t>podizanje površine boje u odnosu na materijal tiskom nekoliko slojeva transparentne boje</a:t>
            </a:r>
            <a:r>
              <a:rPr lang="en-US" sz="2000" dirty="0">
                <a:latin typeface="Futura"/>
              </a:rPr>
              <a:t>. </a:t>
            </a:r>
            <a:r>
              <a:rPr lang="hr-HR" sz="2000" dirty="0">
                <a:latin typeface="Futura"/>
              </a:rPr>
              <a:t>Svaka stranica može biti različita.</a:t>
            </a:r>
            <a:endParaRPr lang="en-US" sz="2000" dirty="0">
              <a:latin typeface="Futura"/>
            </a:endParaRPr>
          </a:p>
          <a:p>
            <a:pPr marL="342900" indent="-342900" fontAlgn="auto">
              <a:lnSpc>
                <a:spcPct val="115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2000" dirty="0">
              <a:latin typeface="Futura"/>
            </a:endParaRPr>
          </a:p>
          <a:p>
            <a:pPr marL="342900" indent="-342900" fontAlgn="auto">
              <a:lnSpc>
                <a:spcPct val="115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000" dirty="0">
                <a:latin typeface="Futura"/>
              </a:rPr>
              <a:t>Digital Watermarks – </a:t>
            </a:r>
            <a:r>
              <a:rPr lang="hr-HR" sz="2000" dirty="0">
                <a:latin typeface="Futura"/>
              </a:rPr>
              <a:t>stvaranje efekta vodenog žiga </a:t>
            </a:r>
            <a:endParaRPr lang="en-US" sz="2000" dirty="0">
              <a:latin typeface="Futura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42" name="think-cell Slide" r:id="rId8" imgW="360" imgH="360" progId="">
              <p:embed/>
            </p:oleObj>
          </a:graphicData>
        </a:graphic>
      </p:graphicFrame>
      <p:sp>
        <p:nvSpPr>
          <p:cNvPr id="10243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01663" y="3406775"/>
            <a:ext cx="5184775" cy="230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hr-HR" b="1">
                <a:solidFill>
                  <a:srgbClr val="000000"/>
                </a:solidFill>
                <a:latin typeface="Futura Bk"/>
              </a:rPr>
              <a:t>Kako radi</a:t>
            </a:r>
            <a:r>
              <a:rPr lang="en-US" b="1">
                <a:solidFill>
                  <a:srgbClr val="000000"/>
                </a:solidFill>
                <a:latin typeface="Futura Bk"/>
              </a:rPr>
              <a:t>:</a:t>
            </a:r>
          </a:p>
          <a:p>
            <a:pPr defTabSz="457200"/>
            <a:r>
              <a:rPr lang="hr-HR">
                <a:solidFill>
                  <a:srgbClr val="000000"/>
                </a:solidFill>
                <a:latin typeface="Futura Bk"/>
              </a:rPr>
              <a:t>Na Digital Mold Media otisne se 250 separacija</a:t>
            </a:r>
          </a:p>
          <a:p>
            <a:pPr defTabSz="457200"/>
            <a:endParaRPr lang="en-US">
              <a:solidFill>
                <a:srgbClr val="000000"/>
              </a:solidFill>
              <a:latin typeface="Futura Bk"/>
            </a:endParaRPr>
          </a:p>
          <a:p>
            <a:pPr defTabSz="457200"/>
            <a:r>
              <a:rPr lang="hr-HR">
                <a:solidFill>
                  <a:srgbClr val="000000"/>
                </a:solidFill>
                <a:latin typeface="Futura Bk"/>
              </a:rPr>
              <a:t>Uložiti do 500 araka da bi se kreirao efekt embosiranja (slijepog tiska)</a:t>
            </a:r>
          </a:p>
          <a:p>
            <a:pPr defTabSz="457200"/>
            <a:endParaRPr lang="en-US">
              <a:solidFill>
                <a:srgbClr val="000000"/>
              </a:solidFill>
              <a:latin typeface="Futura Bk"/>
            </a:endParaRPr>
          </a:p>
          <a:p>
            <a:pPr defTabSz="457200"/>
            <a:r>
              <a:rPr lang="hr-HR">
                <a:solidFill>
                  <a:srgbClr val="000000"/>
                </a:solidFill>
                <a:latin typeface="Futura Bk"/>
              </a:rPr>
              <a:t>Nakon 500 arka zamijeniti </a:t>
            </a:r>
            <a:r>
              <a:rPr lang="en-US">
                <a:solidFill>
                  <a:srgbClr val="000000"/>
                </a:solidFill>
                <a:latin typeface="Futura Bk"/>
              </a:rPr>
              <a:t>Digital</a:t>
            </a:r>
            <a:endParaRPr lang="hr-HR">
              <a:solidFill>
                <a:srgbClr val="000000"/>
              </a:solidFill>
              <a:latin typeface="Futura Bk"/>
            </a:endParaRPr>
          </a:p>
          <a:p>
            <a:pPr defTabSz="457200"/>
            <a:r>
              <a:rPr lang="en-US">
                <a:solidFill>
                  <a:srgbClr val="000000"/>
                </a:solidFill>
                <a:latin typeface="Futura Bk"/>
              </a:rPr>
              <a:t>Mold</a:t>
            </a:r>
            <a:r>
              <a:rPr lang="hr-HR">
                <a:solidFill>
                  <a:srgbClr val="000000"/>
                </a:solidFill>
                <a:latin typeface="Futura Bk"/>
              </a:rPr>
              <a:t> </a:t>
            </a:r>
            <a:r>
              <a:rPr lang="en-US">
                <a:solidFill>
                  <a:srgbClr val="000000"/>
                </a:solidFill>
                <a:latin typeface="Futura Bk"/>
              </a:rPr>
              <a:t>Media</a:t>
            </a:r>
          </a:p>
        </p:txBody>
      </p:sp>
      <p:grpSp>
        <p:nvGrpSpPr>
          <p:cNvPr id="10244" name="Group 20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6335713" y="1298575"/>
            <a:ext cx="1922462" cy="2092325"/>
            <a:chOff x="3168826" y="1925775"/>
            <a:chExt cx="1676399" cy="1825489"/>
          </a:xfrm>
        </p:grpSpPr>
        <p:grpSp>
          <p:nvGrpSpPr>
            <p:cNvPr id="10249" name="Group 16"/>
            <p:cNvGrpSpPr>
              <a:grpSpLocks/>
            </p:cNvGrpSpPr>
            <p:nvPr/>
          </p:nvGrpSpPr>
          <p:grpSpPr bwMode="auto">
            <a:xfrm>
              <a:off x="3168826" y="1925775"/>
              <a:ext cx="1609230" cy="1825489"/>
              <a:chOff x="6016475" y="437326"/>
              <a:chExt cx="1769163" cy="2054089"/>
            </a:xfrm>
          </p:grpSpPr>
          <p:sp>
            <p:nvSpPr>
              <p:cNvPr id="13" name="Oval 12"/>
              <p:cNvSpPr/>
              <p:nvPr/>
            </p:nvSpPr>
            <p:spPr>
              <a:xfrm>
                <a:off x="6016475" y="437326"/>
                <a:ext cx="940528" cy="927302"/>
              </a:xfrm>
              <a:prstGeom prst="ellipse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defTabSz="457200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6844383" y="907990"/>
                <a:ext cx="940528" cy="927302"/>
              </a:xfrm>
              <a:prstGeom prst="ellipse">
                <a:avLst/>
              </a:prstGeom>
              <a:ln>
                <a:solidFill>
                  <a:srgbClr val="C0000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defTabSz="457200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7128976" y="1829058"/>
                <a:ext cx="649847" cy="66235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38100">
                <a:solidFill>
                  <a:srgbClr val="FFFF00"/>
                </a:solidFill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56" name="TextBox 15"/>
              <p:cNvSpPr txBox="1">
                <a:spLocks noChangeArrowheads="1"/>
              </p:cNvSpPr>
              <p:nvPr/>
            </p:nvSpPr>
            <p:spPr bwMode="auto">
              <a:xfrm>
                <a:off x="6096001" y="728870"/>
                <a:ext cx="771814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defTabSz="457200"/>
                <a:r>
                  <a:rPr lang="en-US" sz="1200">
                    <a:solidFill>
                      <a:srgbClr val="000000"/>
                    </a:solidFill>
                    <a:latin typeface="Futura Bk"/>
                  </a:rPr>
                  <a:t>PIP Drum</a:t>
                </a:r>
              </a:p>
            </p:txBody>
          </p:sp>
          <p:sp>
            <p:nvSpPr>
              <p:cNvPr id="10257" name="TextBox 16"/>
              <p:cNvSpPr txBox="1">
                <a:spLocks noChangeArrowheads="1"/>
              </p:cNvSpPr>
              <p:nvPr/>
            </p:nvSpPr>
            <p:spPr bwMode="auto">
              <a:xfrm>
                <a:off x="7003775" y="1225826"/>
                <a:ext cx="661848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defTabSz="457200"/>
                <a:r>
                  <a:rPr lang="en-US" sz="1200">
                    <a:solidFill>
                      <a:srgbClr val="000000"/>
                    </a:solidFill>
                    <a:latin typeface="Futura Bk"/>
                  </a:rPr>
                  <a:t>Blanket</a:t>
                </a:r>
              </a:p>
            </p:txBody>
          </p:sp>
          <p:sp>
            <p:nvSpPr>
              <p:cNvPr id="10258" name="TextBox 17"/>
              <p:cNvSpPr txBox="1">
                <a:spLocks noChangeArrowheads="1"/>
              </p:cNvSpPr>
              <p:nvPr/>
            </p:nvSpPr>
            <p:spPr bwMode="auto">
              <a:xfrm>
                <a:off x="7209184" y="2027583"/>
                <a:ext cx="436338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defTabSz="457200"/>
                <a:r>
                  <a:rPr lang="en-US" sz="1200">
                    <a:solidFill>
                      <a:srgbClr val="000000"/>
                    </a:solidFill>
                    <a:latin typeface="Futura Bk"/>
                  </a:rPr>
                  <a:t>IMP</a:t>
                </a:r>
              </a:p>
            </p:txBody>
          </p:sp>
          <p:cxnSp>
            <p:nvCxnSpPr>
              <p:cNvPr id="19" name="Straight Arrow Connector 18"/>
              <p:cNvCxnSpPr/>
              <p:nvPr/>
            </p:nvCxnSpPr>
            <p:spPr>
              <a:xfrm>
                <a:off x="6716544" y="1882046"/>
                <a:ext cx="385038" cy="1558"/>
              </a:xfrm>
              <a:prstGeom prst="straightConnector1">
                <a:avLst/>
              </a:prstGeom>
              <a:ln w="6350">
                <a:solidFill>
                  <a:schemeClr val="accent1">
                    <a:lumMod val="75000"/>
                  </a:schemeClr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50" name="Group 24"/>
            <p:cNvGrpSpPr>
              <a:grpSpLocks/>
            </p:cNvGrpSpPr>
            <p:nvPr/>
          </p:nvGrpSpPr>
          <p:grpSpPr bwMode="auto">
            <a:xfrm>
              <a:off x="3778425" y="2611575"/>
              <a:ext cx="1066800" cy="993577"/>
              <a:chOff x="7162800" y="2362200"/>
              <a:chExt cx="1066800" cy="993577"/>
            </a:xfrm>
          </p:grpSpPr>
          <p:sp>
            <p:nvSpPr>
              <p:cNvPr id="10" name="TextBox 9"/>
              <p:cNvSpPr txBox="1"/>
              <p:nvPr/>
            </p:nvSpPr>
            <p:spPr>
              <a:xfrm>
                <a:off x="7632963" y="3048980"/>
                <a:ext cx="444363" cy="307480"/>
              </a:xfrm>
              <a:prstGeom prst="rect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wrap="none">
                <a:sp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prstClr val="white"/>
                    </a:solidFill>
                  </a:rPr>
                  <a:t>Die</a:t>
                </a:r>
                <a:endParaRPr lang="en-US" sz="1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7162298" y="2361998"/>
                <a:ext cx="1067302" cy="307480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>
                <a:sp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prstClr val="white"/>
                    </a:solidFill>
                  </a:rPr>
                  <a:t>Counter-die</a:t>
                </a:r>
                <a:endParaRPr lang="en-US" sz="14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0245" name="Rectangle 2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71500" y="1473200"/>
            <a:ext cx="5329238" cy="20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hr-HR" b="1">
                <a:solidFill>
                  <a:srgbClr val="000000"/>
                </a:solidFill>
                <a:latin typeface="Futura Bk"/>
              </a:rPr>
              <a:t>Prednosti</a:t>
            </a:r>
            <a:r>
              <a:rPr lang="en-US" b="1">
                <a:solidFill>
                  <a:srgbClr val="000000"/>
                </a:solidFill>
                <a:latin typeface="Futura Bk"/>
              </a:rPr>
              <a:t>: </a:t>
            </a:r>
          </a:p>
          <a:p>
            <a:pPr defTabSz="457200"/>
            <a:r>
              <a:rPr lang="en-US">
                <a:solidFill>
                  <a:srgbClr val="000000"/>
                </a:solidFill>
                <a:latin typeface="Futura Bk"/>
              </a:rPr>
              <a:t>Textured Effect </a:t>
            </a:r>
            <a:r>
              <a:rPr lang="hr-HR">
                <a:solidFill>
                  <a:srgbClr val="000000"/>
                </a:solidFill>
                <a:latin typeface="Futura Bk"/>
              </a:rPr>
              <a:t>je ekonomski isplativo rješenje za manje naklade</a:t>
            </a:r>
            <a:endParaRPr lang="en-US">
              <a:solidFill>
                <a:srgbClr val="000000"/>
              </a:solidFill>
              <a:latin typeface="Futura Bk"/>
            </a:endParaRPr>
          </a:p>
          <a:p>
            <a:pPr defTabSz="457200"/>
            <a:endParaRPr lang="en-US">
              <a:solidFill>
                <a:srgbClr val="000000"/>
              </a:solidFill>
              <a:latin typeface="Futura Bk"/>
            </a:endParaRPr>
          </a:p>
          <a:p>
            <a:pPr defTabSz="457200"/>
            <a:r>
              <a:rPr lang="hr-HR">
                <a:solidFill>
                  <a:srgbClr val="000000"/>
                </a:solidFill>
                <a:latin typeface="Futura Bk"/>
              </a:rPr>
              <a:t>Za izradu 500 araka potrebno je oko 20 min, klasičnim načinom 1-2 dana</a:t>
            </a:r>
            <a:endParaRPr lang="en-US">
              <a:solidFill>
                <a:srgbClr val="000000"/>
              </a:solidFill>
              <a:latin typeface="Futura Bk"/>
            </a:endParaRPr>
          </a:p>
          <a:p>
            <a:pPr defTabSz="457200"/>
            <a:endParaRPr lang="en-US">
              <a:solidFill>
                <a:srgbClr val="000000"/>
              </a:solidFill>
              <a:latin typeface="Futura Bk"/>
            </a:endParaRPr>
          </a:p>
        </p:txBody>
      </p:sp>
      <p:pic>
        <p:nvPicPr>
          <p:cNvPr id="10246" name="Picture 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685675">
            <a:off x="4829175" y="4884738"/>
            <a:ext cx="1027113" cy="175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7" name="Picture 4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110288" y="3733800"/>
            <a:ext cx="2636837" cy="172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"/>
          <p:cNvSpPr txBox="1">
            <a:spLocks noChangeArrowheads="1"/>
          </p:cNvSpPr>
          <p:nvPr/>
        </p:nvSpPr>
        <p:spPr>
          <a:xfrm>
            <a:off x="711200" y="347663"/>
            <a:ext cx="7989888" cy="1190625"/>
          </a:xfrm>
          <a:prstGeom prst="rect">
            <a:avLst/>
          </a:prstGeom>
        </p:spPr>
        <p:txBody>
          <a:bodyPr/>
          <a:lstStyle/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latin typeface="Futura"/>
                <a:ea typeface="+mj-ea"/>
                <a:cs typeface="+mj-cs"/>
              </a:rPr>
              <a:t>Textured Effects</a:t>
            </a:r>
            <a:endParaRPr lang="hr-HR" sz="3600" b="1" dirty="0">
              <a:latin typeface="Futura"/>
              <a:ea typeface="+mj-ea"/>
              <a:cs typeface="+mj-cs"/>
            </a:endParaRPr>
          </a:p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hr-HR" sz="2400" dirty="0">
                <a:latin typeface="Futura"/>
                <a:ea typeface="+mj-ea"/>
                <a:cs typeface="+mj-cs"/>
              </a:rPr>
              <a:t> - slijepi tisak uz digitalno izrađenu matricu</a:t>
            </a:r>
            <a:endParaRPr lang="en-US" sz="2400" dirty="0">
              <a:latin typeface="Futura"/>
              <a:ea typeface="+mj-ea"/>
              <a:cs typeface="+mj-cs"/>
            </a:endParaRPr>
          </a:p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400" b="1" i="1" dirty="0">
              <a:solidFill>
                <a:schemeClr val="bg1">
                  <a:lumMod val="50000"/>
                </a:schemeClr>
              </a:solidFill>
              <a:latin typeface="Futura Bk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266" name="think-cell Slide" r:id="rId7" imgW="360" imgH="360" progId="">
              <p:embed/>
            </p:oleObj>
          </a:graphicData>
        </a:graphic>
      </p:graphicFrame>
      <p:sp>
        <p:nvSpPr>
          <p:cNvPr id="11267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34975" y="3889375"/>
            <a:ext cx="5184775" cy="175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hr-HR" b="1">
                <a:solidFill>
                  <a:srgbClr val="000000"/>
                </a:solidFill>
                <a:latin typeface="Futura Bk"/>
              </a:rPr>
              <a:t>Kako radi</a:t>
            </a:r>
            <a:r>
              <a:rPr lang="en-US" b="1">
                <a:solidFill>
                  <a:srgbClr val="000000"/>
                </a:solidFill>
                <a:latin typeface="Futura Bk"/>
              </a:rPr>
              <a:t>:</a:t>
            </a:r>
          </a:p>
          <a:p>
            <a:pPr defTabSz="457200"/>
            <a:r>
              <a:rPr lang="hr-HR">
                <a:solidFill>
                  <a:srgbClr val="000000"/>
                </a:solidFill>
                <a:latin typeface="Futura Bk"/>
              </a:rPr>
              <a:t>Tisak do 50 slojeva transparentne boje direktno na materijal</a:t>
            </a:r>
          </a:p>
          <a:p>
            <a:pPr defTabSz="457200"/>
            <a:endParaRPr lang="en-US">
              <a:solidFill>
                <a:srgbClr val="000000"/>
              </a:solidFill>
              <a:latin typeface="Futura Bk"/>
            </a:endParaRPr>
          </a:p>
          <a:p>
            <a:pPr defTabSz="457200"/>
            <a:r>
              <a:rPr lang="hr-HR">
                <a:solidFill>
                  <a:srgbClr val="000000"/>
                </a:solidFill>
                <a:latin typeface="Futura Bk"/>
              </a:rPr>
              <a:t>Visina može varirati tako da se postiže efekt vodenog žiga ili efekt sličan termografiji</a:t>
            </a:r>
            <a:endParaRPr lang="en-US">
              <a:solidFill>
                <a:srgbClr val="000000"/>
              </a:solidFill>
              <a:latin typeface="Futura Bk"/>
            </a:endParaRPr>
          </a:p>
        </p:txBody>
      </p:sp>
      <p:sp>
        <p:nvSpPr>
          <p:cNvPr id="11268" name="Rectangle 2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7675" y="1620838"/>
            <a:ext cx="5327650" cy="175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hr-HR" b="1">
                <a:solidFill>
                  <a:srgbClr val="000000"/>
                </a:solidFill>
                <a:latin typeface="Futura Bk"/>
              </a:rPr>
              <a:t>Prednosti</a:t>
            </a:r>
            <a:r>
              <a:rPr lang="en-US" b="1">
                <a:solidFill>
                  <a:srgbClr val="000000"/>
                </a:solidFill>
                <a:latin typeface="Futura Bk"/>
              </a:rPr>
              <a:t>: </a:t>
            </a:r>
          </a:p>
          <a:p>
            <a:pPr defTabSz="457200"/>
            <a:r>
              <a:rPr lang="hr-HR">
                <a:solidFill>
                  <a:srgbClr val="000000"/>
                </a:solidFill>
                <a:latin typeface="Futura Bk"/>
              </a:rPr>
              <a:t>Na zahtjev, mogućnost na stroju, svaka stranica može biti različita</a:t>
            </a:r>
            <a:endParaRPr lang="en-US">
              <a:solidFill>
                <a:srgbClr val="000000"/>
              </a:solidFill>
              <a:latin typeface="Futura Bk"/>
            </a:endParaRPr>
          </a:p>
          <a:p>
            <a:pPr defTabSz="457200"/>
            <a:endParaRPr lang="en-US">
              <a:solidFill>
                <a:srgbClr val="000000"/>
              </a:solidFill>
              <a:latin typeface="Futura Bk"/>
            </a:endParaRPr>
          </a:p>
          <a:p>
            <a:pPr defTabSz="457200"/>
            <a:r>
              <a:rPr lang="en-US">
                <a:solidFill>
                  <a:srgbClr val="000000"/>
                </a:solidFill>
                <a:latin typeface="Futura Bk"/>
              </a:rPr>
              <a:t>Raised Print </a:t>
            </a:r>
            <a:r>
              <a:rPr lang="hr-HR">
                <a:solidFill>
                  <a:srgbClr val="000000"/>
                </a:solidFill>
                <a:latin typeface="Futura Bk"/>
              </a:rPr>
              <a:t> u usporedbi s termografijom je brži za izradu do 200 stranica</a:t>
            </a:r>
            <a:endParaRPr lang="en-US">
              <a:solidFill>
                <a:srgbClr val="000000"/>
              </a:solidFill>
              <a:latin typeface="Futura Bk"/>
            </a:endParaRP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>
          <a:xfrm>
            <a:off x="711200" y="333375"/>
            <a:ext cx="8204200" cy="1190625"/>
          </a:xfrm>
          <a:prstGeom prst="rect">
            <a:avLst/>
          </a:prstGeom>
        </p:spPr>
        <p:txBody>
          <a:bodyPr/>
          <a:lstStyle/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latin typeface="Futura"/>
                <a:ea typeface="+mj-ea"/>
                <a:cs typeface="+mj-cs"/>
              </a:rPr>
              <a:t>Raised Print and Digital Watermark </a:t>
            </a:r>
            <a:endParaRPr lang="hr-HR" sz="3600" b="1" dirty="0">
              <a:latin typeface="Futura"/>
              <a:ea typeface="+mj-ea"/>
              <a:cs typeface="+mj-cs"/>
            </a:endParaRPr>
          </a:p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Futura"/>
                <a:ea typeface="+mj-ea"/>
                <a:cs typeface="+mj-cs"/>
              </a:rPr>
              <a:t>– </a:t>
            </a:r>
            <a:r>
              <a:rPr lang="hr-HR" sz="2400" dirty="0">
                <a:latin typeface="Futura"/>
                <a:ea typeface="+mj-ea"/>
                <a:cs typeface="+mj-cs"/>
              </a:rPr>
              <a:t>“vodeni žig” i efekt “termografije” s transparentnom bojom</a:t>
            </a:r>
            <a:endParaRPr lang="en-US" sz="2400" i="1" dirty="0">
              <a:latin typeface="Futura"/>
              <a:ea typeface="+mj-ea"/>
              <a:cs typeface="+mj-cs"/>
            </a:endParaRPr>
          </a:p>
        </p:txBody>
      </p:sp>
      <p:pic>
        <p:nvPicPr>
          <p:cNvPr id="11270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889625" y="2413000"/>
            <a:ext cx="2874963" cy="192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09" name="Subtitle 2"/>
          <p:cNvSpPr txBox="1">
            <a:spLocks/>
          </p:cNvSpPr>
          <p:nvPr/>
        </p:nvSpPr>
        <p:spPr bwMode="auto">
          <a:xfrm>
            <a:off x="3429000" y="565150"/>
            <a:ext cx="5715000" cy="111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342900">
              <a:spcBef>
                <a:spcPct val="20000"/>
              </a:spcBef>
            </a:pPr>
            <a:r>
              <a:rPr lang="hr-HR" sz="2400">
                <a:latin typeface="HP Display Beta Light"/>
                <a:ea typeface="ＭＳ Ｐゴシック"/>
                <a:cs typeface="ＭＳ Ｐゴシック"/>
                <a:sym typeface="Futura"/>
              </a:rPr>
              <a:t>Otkriće koje povećava produktivnost i profitabilnost</a:t>
            </a:r>
            <a:endParaRPr lang="en-US" sz="2400">
              <a:latin typeface="Futura"/>
            </a:endParaRPr>
          </a:p>
        </p:txBody>
      </p:sp>
      <p:sp>
        <p:nvSpPr>
          <p:cNvPr id="145410" name="Rectangle 1"/>
          <p:cNvSpPr>
            <a:spLocks/>
          </p:cNvSpPr>
          <p:nvPr/>
        </p:nvSpPr>
        <p:spPr bwMode="auto">
          <a:xfrm>
            <a:off x="4414838" y="1687513"/>
            <a:ext cx="4319587" cy="435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hr-HR" sz="2000">
                <a:latin typeface="HP Display Beta Regular"/>
                <a:ea typeface="ＭＳ Ｐゴシック"/>
                <a:cs typeface="ＭＳ Ｐゴシック"/>
                <a:sym typeface="Futura Bk"/>
              </a:rPr>
              <a:t>Tisak četverobojnih CMYK poslova iz 3 boje</a:t>
            </a:r>
            <a:endParaRPr lang="en-US" sz="2000">
              <a:latin typeface="Futura"/>
              <a:ea typeface="ＭＳ Ｐゴシック"/>
              <a:cs typeface="ＭＳ Ｐゴシック"/>
              <a:sym typeface="Futura Bk"/>
            </a:endParaRPr>
          </a:p>
          <a:p>
            <a:endParaRPr lang="en-US" sz="2000">
              <a:latin typeface="Futura"/>
              <a:ea typeface="ＭＳ Ｐゴシック"/>
              <a:cs typeface="ＭＳ Ｐゴシック"/>
              <a:sym typeface="Futura Bk"/>
            </a:endParaRPr>
          </a:p>
          <a:p>
            <a:r>
              <a:rPr lang="hr-HR" sz="2000">
                <a:latin typeface="HP Display Beta Regular"/>
                <a:ea typeface="ＭＳ Ｐゴシック"/>
                <a:cs typeface="ＭＳ Ｐゴシック"/>
                <a:sym typeface="Futura Bk"/>
              </a:rPr>
              <a:t>Povećanje produktivnosti za </a:t>
            </a:r>
            <a:r>
              <a:rPr lang="en-US" sz="2000">
                <a:latin typeface="Futura"/>
                <a:ea typeface="ＭＳ Ｐゴシック"/>
                <a:cs typeface="ＭＳ Ｐゴシック"/>
                <a:sym typeface="Futura Bk"/>
              </a:rPr>
              <a:t>33%</a:t>
            </a:r>
          </a:p>
          <a:p>
            <a:endParaRPr lang="en-US" sz="2000">
              <a:latin typeface="Futura"/>
              <a:ea typeface="ＭＳ Ｐゴシック"/>
              <a:cs typeface="ＭＳ Ｐゴシック"/>
              <a:sym typeface="Futura Bk"/>
            </a:endParaRPr>
          </a:p>
          <a:p>
            <a:r>
              <a:rPr lang="hr-HR" sz="2000">
                <a:latin typeface="HP Display Beta Regular"/>
                <a:ea typeface="ＭＳ Ｐゴシック"/>
                <a:cs typeface="ＭＳ Ｐゴシック"/>
              </a:rPr>
              <a:t>Niža cijena otiska za </a:t>
            </a:r>
            <a:r>
              <a:rPr lang="en-US" sz="2000">
                <a:latin typeface="Futura"/>
                <a:ea typeface="ＭＳ Ｐゴシック"/>
                <a:cs typeface="ＭＳ Ｐゴシック"/>
              </a:rPr>
              <a:t>~</a:t>
            </a:r>
            <a:r>
              <a:rPr lang="he-IL" sz="2000">
                <a:latin typeface="Futura"/>
                <a:ea typeface="ＭＳ Ｐゴシック"/>
              </a:rPr>
              <a:t>1</a:t>
            </a:r>
            <a:r>
              <a:rPr lang="en-US" sz="2000">
                <a:latin typeface="Futura"/>
                <a:ea typeface="ＭＳ Ｐゴシック"/>
                <a:cs typeface="ＭＳ Ｐゴシック"/>
              </a:rPr>
              <a:t>4</a:t>
            </a:r>
            <a:r>
              <a:rPr lang="he-IL" sz="2000">
                <a:latin typeface="Futura"/>
              </a:rPr>
              <a:t>%</a:t>
            </a:r>
            <a:endParaRPr lang="en-US" sz="2000">
              <a:latin typeface="Futura"/>
              <a:ea typeface="ＭＳ Ｐゴシック"/>
              <a:cs typeface="ＭＳ Ｐゴシック"/>
            </a:endParaRPr>
          </a:p>
          <a:p>
            <a:endParaRPr lang="en-US" sz="2000">
              <a:latin typeface="Futura"/>
              <a:ea typeface="ＭＳ Ｐゴシック"/>
              <a:cs typeface="ＭＳ Ｐゴシック"/>
              <a:sym typeface="Futura Bk"/>
            </a:endParaRPr>
          </a:p>
          <a:p>
            <a:r>
              <a:rPr lang="hr-HR" sz="2000">
                <a:latin typeface="HP Display Beta Regular"/>
                <a:ea typeface="ＭＳ Ｐゴシック"/>
                <a:cs typeface="ＭＳ Ｐゴシック"/>
                <a:sym typeface="Futura Bk"/>
              </a:rPr>
              <a:t>Prebacivanje između EPM moda i standardnog načina tiska klikom</a:t>
            </a:r>
            <a:endParaRPr lang="en-US" sz="2000">
              <a:latin typeface="Futura"/>
              <a:ea typeface="ＭＳ Ｐゴシック"/>
              <a:cs typeface="ＭＳ Ｐゴシック"/>
              <a:sym typeface="Futura Bk"/>
            </a:endParaRPr>
          </a:p>
        </p:txBody>
      </p:sp>
      <p:pic>
        <p:nvPicPr>
          <p:cNvPr id="145411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88913" y="2351088"/>
            <a:ext cx="3811587" cy="3741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5412" name="TextBox 10"/>
          <p:cNvSpPr txBox="1">
            <a:spLocks noChangeArrowheads="1"/>
          </p:cNvSpPr>
          <p:nvPr/>
        </p:nvSpPr>
        <p:spPr bwMode="auto">
          <a:xfrm>
            <a:off x="715963" y="981075"/>
            <a:ext cx="2703512" cy="138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800" b="1">
                <a:latin typeface="HP Display Beta Regular"/>
                <a:cs typeface="Arial" charset="0"/>
              </a:rPr>
              <a:t>Enhanced Productivity Mode (EPM)</a:t>
            </a:r>
            <a:endParaRPr lang="en-US" sz="2800" b="1">
              <a:solidFill>
                <a:srgbClr val="000000"/>
              </a:solidFill>
              <a:latin typeface="HP Display Beta Regular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498" name="AutoShape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6498" name="think-cell Slide" r:id="rId6" imgW="0" imgH="0" progId="">
              <p:embed/>
            </p:oleObj>
          </a:graphicData>
        </a:graphic>
      </p:graphicFrame>
      <p:sp>
        <p:nvSpPr>
          <p:cNvPr id="106499" name="Rectangle 9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9050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>
              <a:lnSpc>
                <a:spcPct val="90000"/>
              </a:lnSpc>
            </a:pPr>
            <a:endParaRPr lang="hr-HR" sz="16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pic>
        <p:nvPicPr>
          <p:cNvPr id="106500" name="Picture 46" descr="commercial portfolio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7950" y="908050"/>
            <a:ext cx="8942388" cy="594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501" name="Title 1"/>
          <p:cNvSpPr>
            <a:spLocks noGrp="1"/>
          </p:cNvSpPr>
          <p:nvPr>
            <p:ph type="title"/>
          </p:nvPr>
        </p:nvSpPr>
        <p:spPr>
          <a:xfrm>
            <a:off x="331788" y="395288"/>
            <a:ext cx="8007350" cy="862012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nl-BE" sz="3600" smtClean="0">
                <a:latin typeface="Futura Bk"/>
              </a:rPr>
              <a:t>HP Indigo Drupa 2012 </a:t>
            </a:r>
            <a:br>
              <a:rPr lang="nl-BE" sz="3600" smtClean="0">
                <a:latin typeface="Futura Bk"/>
              </a:rPr>
            </a:br>
            <a:r>
              <a:rPr lang="nl-BE" sz="2000" smtClean="0">
                <a:latin typeface="Futura Bk"/>
              </a:rPr>
              <a:t>General Commercial Printing Portfolio</a:t>
            </a:r>
            <a:endParaRPr lang="en-US" sz="2000" smtClean="0">
              <a:latin typeface="Futura Bk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3" name="Title 1"/>
          <p:cNvSpPr>
            <a:spLocks noGrp="1"/>
          </p:cNvSpPr>
          <p:nvPr>
            <p:ph type="title"/>
          </p:nvPr>
        </p:nvSpPr>
        <p:spPr>
          <a:xfrm>
            <a:off x="774700" y="106363"/>
            <a:ext cx="8459788" cy="574675"/>
          </a:xfrm>
        </p:spPr>
        <p:txBody>
          <a:bodyPr anchor="t"/>
          <a:lstStyle/>
          <a:p>
            <a:r>
              <a:rPr lang="hr-HR" smtClean="0">
                <a:latin typeface="HP Display Beta Regular"/>
                <a:sym typeface="Futura Bk"/>
              </a:rPr>
              <a:t>Što se krije iza EPM moda?</a:t>
            </a:r>
            <a:endParaRPr lang="en-US" smtClean="0">
              <a:latin typeface="HP Display Beta Regular"/>
            </a:endParaRPr>
          </a:p>
        </p:txBody>
      </p:sp>
      <p:pic>
        <p:nvPicPr>
          <p:cNvPr id="146434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04875" y="3557588"/>
            <a:ext cx="2333625" cy="233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643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04875" y="928688"/>
            <a:ext cx="2333625" cy="233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6436" name="Rectangle 4"/>
          <p:cNvSpPr>
            <a:spLocks/>
          </p:cNvSpPr>
          <p:nvPr/>
        </p:nvSpPr>
        <p:spPr bwMode="auto">
          <a:xfrm>
            <a:off x="1725613" y="3230563"/>
            <a:ext cx="9874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r>
              <a:rPr lang="en-US" sz="2000">
                <a:latin typeface="HP Display Beta Regular"/>
                <a:ea typeface="ＭＳ Ｐゴシック"/>
                <a:cs typeface="ＭＳ Ｐゴシック"/>
                <a:sym typeface="Futura Bk"/>
              </a:rPr>
              <a:t>CMYK</a:t>
            </a:r>
          </a:p>
        </p:txBody>
      </p:sp>
      <p:pic>
        <p:nvPicPr>
          <p:cNvPr id="146437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14875" y="1431925"/>
            <a:ext cx="3730625" cy="3662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6438" name="Oval 6"/>
          <p:cNvSpPr>
            <a:spLocks/>
          </p:cNvSpPr>
          <p:nvPr/>
        </p:nvSpPr>
        <p:spPr bwMode="auto">
          <a:xfrm>
            <a:off x="5180013" y="3262313"/>
            <a:ext cx="180975" cy="242887"/>
          </a:xfrm>
          <a:prstGeom prst="ellipse">
            <a:avLst/>
          </a:prstGeom>
          <a:noFill/>
          <a:ln w="50800">
            <a:solidFill>
              <a:srgbClr val="FF0000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hr-HR">
              <a:latin typeface="Calibri" pitchFamily="34" charset="0"/>
            </a:endParaRPr>
          </a:p>
        </p:txBody>
      </p:sp>
      <p:sp>
        <p:nvSpPr>
          <p:cNvPr id="146439" name="Line 7"/>
          <p:cNvSpPr>
            <a:spLocks noChangeShapeType="1"/>
          </p:cNvSpPr>
          <p:nvPr/>
        </p:nvSpPr>
        <p:spPr bwMode="auto">
          <a:xfrm rot="10800000" flipH="1">
            <a:off x="3238500" y="3497263"/>
            <a:ext cx="1941513" cy="1227137"/>
          </a:xfrm>
          <a:prstGeom prst="line">
            <a:avLst/>
          </a:prstGeom>
          <a:noFill/>
          <a:ln w="25400">
            <a:solidFill>
              <a:srgbClr val="FF0000"/>
            </a:solidFill>
            <a:miter lim="800000"/>
            <a:headEnd type="stealth" w="med" len="med"/>
            <a:tailEnd/>
          </a:ln>
        </p:spPr>
        <p:txBody>
          <a:bodyPr lIns="0" tIns="0" rIns="0" bIns="0"/>
          <a:lstStyle/>
          <a:p>
            <a:endParaRPr lang="sr-Latn-CS"/>
          </a:p>
        </p:txBody>
      </p:sp>
      <p:sp>
        <p:nvSpPr>
          <p:cNvPr id="146440" name="Line 8"/>
          <p:cNvSpPr>
            <a:spLocks noChangeShapeType="1"/>
          </p:cNvSpPr>
          <p:nvPr/>
        </p:nvSpPr>
        <p:spPr bwMode="auto">
          <a:xfrm>
            <a:off x="3238500" y="2095500"/>
            <a:ext cx="1941513" cy="1270000"/>
          </a:xfrm>
          <a:prstGeom prst="line">
            <a:avLst/>
          </a:prstGeom>
          <a:noFill/>
          <a:ln w="25400">
            <a:solidFill>
              <a:srgbClr val="FF0000"/>
            </a:solidFill>
            <a:miter lim="800000"/>
            <a:headEnd type="stealth" w="med" len="med"/>
            <a:tailEnd/>
          </a:ln>
        </p:spPr>
        <p:txBody>
          <a:bodyPr lIns="0" tIns="0" rIns="0" bIns="0"/>
          <a:lstStyle/>
          <a:p>
            <a:endParaRPr lang="sr-Latn-CS"/>
          </a:p>
        </p:txBody>
      </p:sp>
      <p:sp>
        <p:nvSpPr>
          <p:cNvPr id="146441" name="Rectangle 4"/>
          <p:cNvSpPr>
            <a:spLocks/>
          </p:cNvSpPr>
          <p:nvPr/>
        </p:nvSpPr>
        <p:spPr bwMode="auto">
          <a:xfrm>
            <a:off x="1725613" y="5929313"/>
            <a:ext cx="6937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r>
              <a:rPr lang="en-US" sz="2000">
                <a:latin typeface="HP Display Beta Regular"/>
                <a:ea typeface="ＭＳ Ｐゴシック"/>
                <a:cs typeface="ＭＳ Ｐゴシック"/>
                <a:sym typeface="Futura Bk"/>
              </a:rPr>
              <a:t>EPM</a:t>
            </a:r>
          </a:p>
        </p:txBody>
      </p:sp>
      <p:sp>
        <p:nvSpPr>
          <p:cNvPr id="146442" name="Rectangle 10"/>
          <p:cNvSpPr>
            <a:spLocks/>
          </p:cNvSpPr>
          <p:nvPr/>
        </p:nvSpPr>
        <p:spPr bwMode="auto">
          <a:xfrm>
            <a:off x="3289300" y="3178175"/>
            <a:ext cx="13081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1600">
                <a:solidFill>
                  <a:srgbClr val="4D4D4D"/>
                </a:solidFill>
                <a:latin typeface="HP Display Beta Light"/>
                <a:ea typeface="ＭＳ Ｐゴシック"/>
                <a:cs typeface="ＭＳ Ｐゴシック"/>
                <a:sym typeface="Futura Bk"/>
              </a:rPr>
              <a:t>x100 magnific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0" name="think-cell Slide" r:id="rId10" imgW="360" imgH="360" progId="">
              <p:embed/>
            </p:oleObj>
          </a:graphicData>
        </a:graphic>
      </p:graphicFrame>
      <p:sp>
        <p:nvSpPr>
          <p:cNvPr id="12291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34975" y="2974975"/>
            <a:ext cx="4511675" cy="317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hr-HR" sz="2000" b="1">
                <a:solidFill>
                  <a:srgbClr val="000000"/>
                </a:solidFill>
                <a:latin typeface="Futura"/>
              </a:rPr>
              <a:t>Kako radi</a:t>
            </a:r>
            <a:r>
              <a:rPr lang="en-US" sz="2000" b="1">
                <a:solidFill>
                  <a:srgbClr val="000000"/>
                </a:solidFill>
                <a:latin typeface="Futura"/>
              </a:rPr>
              <a:t>:</a:t>
            </a:r>
          </a:p>
          <a:p>
            <a:pPr defTabSz="457200"/>
            <a:r>
              <a:rPr lang="hr-HR" sz="2000">
                <a:solidFill>
                  <a:srgbClr val="000000"/>
                </a:solidFill>
                <a:latin typeface="Futura"/>
              </a:rPr>
              <a:t>Inovativna tehnologija koja tiska CMYK poslove bez crne boje</a:t>
            </a:r>
          </a:p>
          <a:p>
            <a:pPr defTabSz="457200"/>
            <a:r>
              <a:rPr lang="hr-HR" sz="2000">
                <a:solidFill>
                  <a:srgbClr val="000000"/>
                </a:solidFill>
                <a:latin typeface="Futura"/>
              </a:rPr>
              <a:t>(samo CMY)</a:t>
            </a:r>
            <a:endParaRPr lang="en-US" sz="2000">
              <a:solidFill>
                <a:srgbClr val="000000"/>
              </a:solidFill>
              <a:latin typeface="Futura"/>
            </a:endParaRPr>
          </a:p>
          <a:p>
            <a:pPr defTabSz="457200"/>
            <a:endParaRPr lang="en-US" sz="2000">
              <a:solidFill>
                <a:srgbClr val="000000"/>
              </a:solidFill>
              <a:latin typeface="Futura"/>
            </a:endParaRPr>
          </a:p>
          <a:p>
            <a:pPr defTabSz="457200"/>
            <a:r>
              <a:rPr lang="en-US" sz="2000">
                <a:solidFill>
                  <a:srgbClr val="000000"/>
                </a:solidFill>
                <a:latin typeface="Futura"/>
              </a:rPr>
              <a:t>CMY </a:t>
            </a:r>
            <a:r>
              <a:rPr lang="hr-HR" sz="2000">
                <a:solidFill>
                  <a:srgbClr val="000000"/>
                </a:solidFill>
                <a:latin typeface="Futura"/>
              </a:rPr>
              <a:t>boje nadoknađuju ne tiskanje crne boje</a:t>
            </a:r>
            <a:endParaRPr lang="en-US" sz="2000">
              <a:solidFill>
                <a:srgbClr val="000000"/>
              </a:solidFill>
              <a:latin typeface="Futura"/>
            </a:endParaRPr>
          </a:p>
          <a:p>
            <a:pPr defTabSz="457200"/>
            <a:endParaRPr lang="en-US" sz="2000">
              <a:solidFill>
                <a:srgbClr val="000000"/>
              </a:solidFill>
              <a:latin typeface="Futura"/>
            </a:endParaRPr>
          </a:p>
          <a:p>
            <a:pPr defTabSz="457200"/>
            <a:r>
              <a:rPr lang="hr-HR" sz="2000">
                <a:solidFill>
                  <a:srgbClr val="000000"/>
                </a:solidFill>
                <a:latin typeface="Futura"/>
              </a:rPr>
              <a:t>Superiorna HP Indigo tehnologija i boja omogućuju tisak u EPM modu</a:t>
            </a:r>
            <a:endParaRPr lang="en-US" sz="2000">
              <a:solidFill>
                <a:srgbClr val="000000"/>
              </a:solidFill>
              <a:latin typeface="Futura"/>
            </a:endParaRPr>
          </a:p>
        </p:txBody>
      </p:sp>
      <p:sp>
        <p:nvSpPr>
          <p:cNvPr id="12292" name="Rectangle 2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7675" y="1204913"/>
            <a:ext cx="5327650" cy="1322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hr-HR" sz="2000" b="1">
                <a:solidFill>
                  <a:srgbClr val="000000"/>
                </a:solidFill>
                <a:latin typeface="Futura Bk"/>
              </a:rPr>
              <a:t>EPM mode</a:t>
            </a:r>
            <a:r>
              <a:rPr lang="en-US" sz="2000" b="1">
                <a:solidFill>
                  <a:srgbClr val="000000"/>
                </a:solidFill>
                <a:latin typeface="Futura Bk"/>
              </a:rPr>
              <a:t>: </a:t>
            </a:r>
          </a:p>
          <a:p>
            <a:pPr defTabSz="457200"/>
            <a:r>
              <a:rPr lang="hr-HR" sz="2000">
                <a:solidFill>
                  <a:srgbClr val="000000"/>
                </a:solidFill>
                <a:latin typeface="Futura Bk"/>
              </a:rPr>
              <a:t>Pokrivenost bojom je veća</a:t>
            </a:r>
            <a:endParaRPr lang="en-US" sz="2000">
              <a:solidFill>
                <a:srgbClr val="000000"/>
              </a:solidFill>
              <a:latin typeface="Futura Bk"/>
            </a:endParaRPr>
          </a:p>
          <a:p>
            <a:pPr defTabSz="457200"/>
            <a:r>
              <a:rPr lang="hr-HR" sz="2000">
                <a:solidFill>
                  <a:srgbClr val="000000"/>
                </a:solidFill>
                <a:latin typeface="Futura Bk"/>
              </a:rPr>
              <a:t>Izuzetna kvaliteta otiska</a:t>
            </a:r>
            <a:endParaRPr lang="en-US" sz="2000">
              <a:solidFill>
                <a:srgbClr val="000000"/>
              </a:solidFill>
              <a:latin typeface="Futura Bk"/>
            </a:endParaRPr>
          </a:p>
          <a:p>
            <a:pPr defTabSz="457200"/>
            <a:r>
              <a:rPr lang="hr-HR" sz="2000">
                <a:solidFill>
                  <a:srgbClr val="000000"/>
                </a:solidFill>
                <a:latin typeface="Futura Bk"/>
              </a:rPr>
              <a:t>Povećava brzinu tiska CMYK poslova za </a:t>
            </a:r>
            <a:r>
              <a:rPr lang="en-US" sz="2000">
                <a:solidFill>
                  <a:srgbClr val="000000"/>
                </a:solidFill>
                <a:latin typeface="Futura Bk"/>
              </a:rPr>
              <a:t>33%</a:t>
            </a: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>
          <a:xfrm>
            <a:off x="711200" y="333375"/>
            <a:ext cx="7989888" cy="1190625"/>
          </a:xfrm>
          <a:prstGeom prst="rect">
            <a:avLst/>
          </a:prstGeom>
        </p:spPr>
        <p:txBody>
          <a:bodyPr/>
          <a:lstStyle/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>
                <a:latin typeface="Futura"/>
              </a:rPr>
              <a:t>Enhanced Productivity Mode</a:t>
            </a:r>
            <a:endParaRPr lang="en-US" sz="3600" b="1" i="1" dirty="0">
              <a:latin typeface="Futura"/>
            </a:endParaRPr>
          </a:p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400" b="1" i="1" dirty="0">
              <a:solidFill>
                <a:schemeClr val="bg1">
                  <a:lumMod val="50000"/>
                </a:schemeClr>
              </a:solidFill>
              <a:latin typeface="Futura Bk" pitchFamily="34" charset="0"/>
              <a:ea typeface="+mj-ea"/>
              <a:cs typeface="+mj-cs"/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3455988" y="4129088"/>
            <a:ext cx="184150" cy="769937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spcBef>
                <a:spcPct val="50000"/>
              </a:spcBef>
              <a:defRPr/>
            </a:pPr>
            <a:endParaRPr lang="en-US" sz="4400" b="1" dirty="0">
              <a:ln w="11430"/>
              <a:solidFill>
                <a:srgbClr val="00B0F0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+mn-lt"/>
            </a:endParaRPr>
          </a:p>
        </p:txBody>
      </p:sp>
      <p:sp>
        <p:nvSpPr>
          <p:cNvPr id="12295" name="TextBox 7"/>
          <p:cNvSpPr txBox="1">
            <a:spLocks noChangeArrowheads="1"/>
          </p:cNvSpPr>
          <p:nvPr/>
        </p:nvSpPr>
        <p:spPr bwMode="auto">
          <a:xfrm>
            <a:off x="3810000" y="3932238"/>
            <a:ext cx="53340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hr-HR">
              <a:solidFill>
                <a:srgbClr val="000000"/>
              </a:solidFill>
              <a:latin typeface="Calibri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5057775" y="3370263"/>
          <a:ext cx="1290638" cy="2166937"/>
        </p:xfrm>
        <a:graphic>
          <a:graphicData uri="http://schemas.openxmlformats.org/drawingml/2006/table">
            <a:tbl>
              <a:tblPr/>
              <a:tblGrid>
                <a:gridCol w="92239"/>
                <a:gridCol w="207535"/>
                <a:gridCol w="92239"/>
                <a:gridCol w="207535"/>
                <a:gridCol w="92239"/>
                <a:gridCol w="207535"/>
                <a:gridCol w="92239"/>
                <a:gridCol w="207535"/>
                <a:gridCol w="92239"/>
              </a:tblGrid>
              <a:tr h="166651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7424738" y="3355975"/>
          <a:ext cx="1912937" cy="2166938"/>
        </p:xfrm>
        <a:graphic>
          <a:graphicData uri="http://schemas.openxmlformats.org/drawingml/2006/table">
            <a:tbl>
              <a:tblPr/>
              <a:tblGrid>
                <a:gridCol w="207535"/>
                <a:gridCol w="92239"/>
                <a:gridCol w="207535"/>
                <a:gridCol w="92239"/>
                <a:gridCol w="256832"/>
                <a:gridCol w="42942"/>
                <a:gridCol w="207535"/>
                <a:gridCol w="92239"/>
                <a:gridCol w="198988"/>
                <a:gridCol w="100787"/>
                <a:gridCol w="207535"/>
                <a:gridCol w="207535"/>
              </a:tblGrid>
              <a:tr h="166651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6651"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71" marR="8771" marT="87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12594" name="TextBox 11"/>
          <p:cNvSpPr txBox="1">
            <a:spLocks noChangeArrowheads="1"/>
          </p:cNvSpPr>
          <p:nvPr/>
        </p:nvSpPr>
        <p:spPr bwMode="auto">
          <a:xfrm>
            <a:off x="5057775" y="3141663"/>
            <a:ext cx="3048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rgbClr val="000000"/>
                </a:solidFill>
                <a:latin typeface="Calibri" pitchFamily="34" charset="0"/>
              </a:rPr>
              <a:t>C</a:t>
            </a:r>
          </a:p>
        </p:txBody>
      </p:sp>
      <p:sp>
        <p:nvSpPr>
          <p:cNvPr id="12595" name="TextBox 12"/>
          <p:cNvSpPr txBox="1">
            <a:spLocks noChangeArrowheads="1"/>
          </p:cNvSpPr>
          <p:nvPr/>
        </p:nvSpPr>
        <p:spPr bwMode="auto">
          <a:xfrm>
            <a:off x="5362575" y="3141663"/>
            <a:ext cx="3048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rgbClr val="000000"/>
                </a:solidFill>
                <a:latin typeface="Calibri" pitchFamily="34" charset="0"/>
              </a:rPr>
              <a:t>M</a:t>
            </a:r>
          </a:p>
        </p:txBody>
      </p:sp>
      <p:sp>
        <p:nvSpPr>
          <p:cNvPr id="12596" name="TextBox 13"/>
          <p:cNvSpPr txBox="1">
            <a:spLocks noChangeArrowheads="1"/>
          </p:cNvSpPr>
          <p:nvPr/>
        </p:nvSpPr>
        <p:spPr bwMode="auto">
          <a:xfrm>
            <a:off x="5667375" y="3141663"/>
            <a:ext cx="3048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rgbClr val="000000"/>
                </a:solidFill>
                <a:latin typeface="Calibri" pitchFamily="34" charset="0"/>
              </a:rPr>
              <a:t>Y</a:t>
            </a:r>
          </a:p>
        </p:txBody>
      </p:sp>
      <p:sp>
        <p:nvSpPr>
          <p:cNvPr id="12597" name="TextBox 14"/>
          <p:cNvSpPr txBox="1">
            <a:spLocks noChangeArrowheads="1"/>
          </p:cNvSpPr>
          <p:nvPr/>
        </p:nvSpPr>
        <p:spPr bwMode="auto">
          <a:xfrm>
            <a:off x="5995988" y="3141663"/>
            <a:ext cx="3048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rgbClr val="000000"/>
                </a:solidFill>
                <a:latin typeface="Calibri" pitchFamily="34" charset="0"/>
              </a:rPr>
              <a:t>K</a:t>
            </a:r>
          </a:p>
        </p:txBody>
      </p:sp>
      <p:sp>
        <p:nvSpPr>
          <p:cNvPr id="12598" name="TextBox 15"/>
          <p:cNvSpPr txBox="1">
            <a:spLocks noChangeArrowheads="1"/>
          </p:cNvSpPr>
          <p:nvPr/>
        </p:nvSpPr>
        <p:spPr bwMode="auto">
          <a:xfrm>
            <a:off x="7808913" y="3141663"/>
            <a:ext cx="3048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rgbClr val="000000"/>
                </a:solidFill>
                <a:latin typeface="Calibri" pitchFamily="34" charset="0"/>
              </a:rPr>
              <a:t>C</a:t>
            </a:r>
          </a:p>
        </p:txBody>
      </p:sp>
      <p:sp>
        <p:nvSpPr>
          <p:cNvPr id="12599" name="TextBox 16"/>
          <p:cNvSpPr txBox="1">
            <a:spLocks noChangeArrowheads="1"/>
          </p:cNvSpPr>
          <p:nvPr/>
        </p:nvSpPr>
        <p:spPr bwMode="auto">
          <a:xfrm>
            <a:off x="8113713" y="3141663"/>
            <a:ext cx="3048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rgbClr val="000000"/>
                </a:solidFill>
                <a:latin typeface="Calibri" pitchFamily="34" charset="0"/>
              </a:rPr>
              <a:t>M</a:t>
            </a:r>
          </a:p>
        </p:txBody>
      </p:sp>
      <p:sp>
        <p:nvSpPr>
          <p:cNvPr id="12600" name="TextBox 17"/>
          <p:cNvSpPr txBox="1">
            <a:spLocks noChangeArrowheads="1"/>
          </p:cNvSpPr>
          <p:nvPr/>
        </p:nvSpPr>
        <p:spPr bwMode="auto">
          <a:xfrm>
            <a:off x="8418513" y="3141663"/>
            <a:ext cx="3048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rgbClr val="000000"/>
                </a:solidFill>
                <a:latin typeface="Calibri" pitchFamily="34" charset="0"/>
              </a:rPr>
              <a:t>Y</a:t>
            </a:r>
          </a:p>
        </p:txBody>
      </p:sp>
      <p:grpSp>
        <p:nvGrpSpPr>
          <p:cNvPr id="12601" name="Group 16"/>
          <p:cNvGrpSpPr>
            <a:grpSpLocks/>
          </p:cNvGrpSpPr>
          <p:nvPr/>
        </p:nvGrpSpPr>
        <p:grpSpPr bwMode="auto">
          <a:xfrm>
            <a:off x="6200775" y="1271588"/>
            <a:ext cx="2028825" cy="1236662"/>
            <a:chOff x="6711696" y="2167890"/>
            <a:chExt cx="1746504" cy="1184910"/>
          </a:xfrm>
        </p:grpSpPr>
        <p:pic>
          <p:nvPicPr>
            <p:cNvPr id="12606" name="Picture 5" descr="https://encrypted-tbn3.google.com/images?q=tbn:ANd9GcSVlbIr4cPcxcPeNZYZzOWf5MSwnidP07TwXLs-JluPR3qWaWeS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6711696" y="2196314"/>
              <a:ext cx="1737360" cy="11564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607" name="Rectangle 2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8022208" y="2167890"/>
              <a:ext cx="435992" cy="1156486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</p:spPr>
          <p:txBody>
            <a:bodyPr lIns="91435" tIns="45718" rIns="91435" bIns="45718"/>
            <a:lstStyle/>
            <a:p>
              <a:pPr defTabSz="912813">
                <a:spcBef>
                  <a:spcPct val="50000"/>
                </a:spcBef>
              </a:pPr>
              <a:endParaRPr lang="hr-HR" sz="1600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sp>
        <p:nvSpPr>
          <p:cNvPr id="25" name="Down Arrow 24"/>
          <p:cNvSpPr/>
          <p:nvPr/>
        </p:nvSpPr>
        <p:spPr>
          <a:xfrm rot="16200000">
            <a:off x="6480969" y="3975894"/>
            <a:ext cx="839788" cy="66040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603" name="TextBox 26"/>
          <p:cNvSpPr txBox="1">
            <a:spLocks noChangeArrowheads="1"/>
          </p:cNvSpPr>
          <p:nvPr/>
        </p:nvSpPr>
        <p:spPr bwMode="auto">
          <a:xfrm>
            <a:off x="6400800" y="3516313"/>
            <a:ext cx="3048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rgbClr val="000000"/>
                </a:solidFill>
                <a:latin typeface="Calibri" pitchFamily="34" charset="0"/>
              </a:rPr>
              <a:t>E</a:t>
            </a:r>
          </a:p>
        </p:txBody>
      </p:sp>
      <p:sp>
        <p:nvSpPr>
          <p:cNvPr id="12604" name="TextBox 27"/>
          <p:cNvSpPr txBox="1">
            <a:spLocks noChangeArrowheads="1"/>
          </p:cNvSpPr>
          <p:nvPr/>
        </p:nvSpPr>
        <p:spPr bwMode="auto">
          <a:xfrm>
            <a:off x="6705600" y="3516313"/>
            <a:ext cx="3048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rgbClr val="000000"/>
                </a:solidFill>
                <a:latin typeface="Calibri" pitchFamily="34" charset="0"/>
              </a:rPr>
              <a:t>P</a:t>
            </a:r>
          </a:p>
        </p:txBody>
      </p:sp>
      <p:sp>
        <p:nvSpPr>
          <p:cNvPr id="12605" name="TextBox 28"/>
          <p:cNvSpPr txBox="1">
            <a:spLocks noChangeArrowheads="1"/>
          </p:cNvSpPr>
          <p:nvPr/>
        </p:nvSpPr>
        <p:spPr bwMode="auto">
          <a:xfrm>
            <a:off x="7010400" y="3516313"/>
            <a:ext cx="3048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rgbClr val="000000"/>
                </a:solidFill>
                <a:latin typeface="Calibri" pitchFamily="34" charset="0"/>
              </a:rPr>
              <a:t>M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529" name="Title 3"/>
          <p:cNvSpPr>
            <a:spLocks noGrp="1"/>
          </p:cNvSpPr>
          <p:nvPr>
            <p:ph type="title"/>
          </p:nvPr>
        </p:nvSpPr>
        <p:spPr>
          <a:xfrm>
            <a:off x="806450" y="115888"/>
            <a:ext cx="8302625" cy="922337"/>
          </a:xfrm>
        </p:spPr>
        <p:txBody>
          <a:bodyPr anchor="t"/>
          <a:lstStyle/>
          <a:p>
            <a:r>
              <a:rPr lang="hr-HR" sz="3600" b="1" smtClean="0">
                <a:latin typeface="Futura"/>
              </a:rPr>
              <a:t>Koristeći EPM, kolor gamut je smanjen </a:t>
            </a:r>
            <a:r>
              <a:rPr lang="en-US" sz="3600" b="1" smtClean="0">
                <a:latin typeface="Futura"/>
              </a:rPr>
              <a:t>~10% </a:t>
            </a:r>
          </a:p>
        </p:txBody>
      </p:sp>
      <p:grpSp>
        <p:nvGrpSpPr>
          <p:cNvPr id="150530" name="Group 27"/>
          <p:cNvGrpSpPr>
            <a:grpSpLocks noChangeAspect="1"/>
          </p:cNvGrpSpPr>
          <p:nvPr/>
        </p:nvGrpSpPr>
        <p:grpSpPr bwMode="auto">
          <a:xfrm>
            <a:off x="630238" y="2068513"/>
            <a:ext cx="4106862" cy="3736975"/>
            <a:chOff x="4687935" y="1094704"/>
            <a:chExt cx="4430332" cy="4031088"/>
          </a:xfrm>
        </p:grpSpPr>
        <p:grpSp>
          <p:nvGrpSpPr>
            <p:cNvPr id="150536" name="Group 26"/>
            <p:cNvGrpSpPr>
              <a:grpSpLocks/>
            </p:cNvGrpSpPr>
            <p:nvPr/>
          </p:nvGrpSpPr>
          <p:grpSpPr bwMode="auto">
            <a:xfrm>
              <a:off x="4687935" y="1094704"/>
              <a:ext cx="4430332" cy="4031088"/>
              <a:chOff x="2163651" y="1133341"/>
              <a:chExt cx="4430332" cy="4031088"/>
            </a:xfrm>
          </p:grpSpPr>
          <p:pic>
            <p:nvPicPr>
              <p:cNvPr id="19" name="Picture 4"/>
              <p:cNvPicPr>
                <a:picLocks noChangeAspect="1" noChangeArrowheads="1"/>
              </p:cNvPicPr>
              <p:nvPr/>
            </p:nvPicPr>
            <p:blipFill rotWithShape="1">
              <a:blip r:embed="rId3"/>
              <a:srcRect l="9020" t="5472" r="6416" b="6359"/>
              <a:stretch/>
            </p:blipFill>
            <p:spPr bwMode="auto">
              <a:xfrm>
                <a:off x="2163651" y="1133341"/>
                <a:ext cx="4430332" cy="4031088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21" name="TextBox 20"/>
              <p:cNvSpPr txBox="1"/>
              <p:nvPr/>
            </p:nvSpPr>
            <p:spPr>
              <a:xfrm>
                <a:off x="5223954" y="4150663"/>
                <a:ext cx="1150825" cy="232892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b="1" dirty="0">
                    <a:latin typeface="+mj-lt"/>
                  </a:rPr>
                  <a:t>[100,100,100,0]</a:t>
                </a: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2418818" y="2626590"/>
                <a:ext cx="845993" cy="232892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b="1" dirty="0">
                    <a:latin typeface="+mj-lt"/>
                  </a:rPr>
                  <a:t>[100,0,0,0]</a:t>
                </a: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3511417" y="2027236"/>
                <a:ext cx="770642" cy="232892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b="1" dirty="0">
                    <a:latin typeface="+mj-lt"/>
                  </a:rPr>
                  <a:t>[50,0,0,0]</a:t>
                </a: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5230804" y="4630147"/>
                <a:ext cx="1303241" cy="232892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b="1" dirty="0">
                    <a:latin typeface="+mj-lt"/>
                  </a:rPr>
                  <a:t>[100,100,100,100]</a:t>
                </a:r>
              </a:p>
            </p:txBody>
          </p:sp>
          <p:sp>
            <p:nvSpPr>
              <p:cNvPr id="25" name="Freeform 24"/>
              <p:cNvSpPr/>
              <p:nvPr/>
            </p:nvSpPr>
            <p:spPr>
              <a:xfrm>
                <a:off x="3138084" y="1504940"/>
                <a:ext cx="2137246" cy="2755319"/>
              </a:xfrm>
              <a:custGeom>
                <a:avLst/>
                <a:gdLst>
                  <a:gd name="connsiteX0" fmla="*/ 2715768 w 2715768"/>
                  <a:gd name="connsiteY0" fmla="*/ 0 h 3502152"/>
                  <a:gd name="connsiteX1" fmla="*/ 0 w 2715768"/>
                  <a:gd name="connsiteY1" fmla="*/ 1773936 h 3502152"/>
                  <a:gd name="connsiteX2" fmla="*/ 164592 w 2715768"/>
                  <a:gd name="connsiteY2" fmla="*/ 2240280 h 3502152"/>
                  <a:gd name="connsiteX3" fmla="*/ 429768 w 2715768"/>
                  <a:gd name="connsiteY3" fmla="*/ 2478024 h 3502152"/>
                  <a:gd name="connsiteX4" fmla="*/ 1014984 w 2715768"/>
                  <a:gd name="connsiteY4" fmla="*/ 2816352 h 3502152"/>
                  <a:gd name="connsiteX5" fmla="*/ 1673352 w 2715768"/>
                  <a:gd name="connsiteY5" fmla="*/ 3136392 h 3502152"/>
                  <a:gd name="connsiteX6" fmla="*/ 2286000 w 2715768"/>
                  <a:gd name="connsiteY6" fmla="*/ 3355848 h 3502152"/>
                  <a:gd name="connsiteX7" fmla="*/ 2715768 w 2715768"/>
                  <a:gd name="connsiteY7" fmla="*/ 3502152 h 3502152"/>
                  <a:gd name="connsiteX8" fmla="*/ 2715768 w 2715768"/>
                  <a:gd name="connsiteY8" fmla="*/ 0 h 3502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15768" h="3502152">
                    <a:moveTo>
                      <a:pt x="2715768" y="0"/>
                    </a:moveTo>
                    <a:lnTo>
                      <a:pt x="0" y="1773936"/>
                    </a:lnTo>
                    <a:lnTo>
                      <a:pt x="164592" y="2240280"/>
                    </a:lnTo>
                    <a:lnTo>
                      <a:pt x="429768" y="2478024"/>
                    </a:lnTo>
                    <a:lnTo>
                      <a:pt x="1014984" y="2816352"/>
                    </a:lnTo>
                    <a:lnTo>
                      <a:pt x="1673352" y="3136392"/>
                    </a:lnTo>
                    <a:lnTo>
                      <a:pt x="2286000" y="3355848"/>
                    </a:lnTo>
                    <a:lnTo>
                      <a:pt x="2715768" y="3502152"/>
                    </a:lnTo>
                    <a:lnTo>
                      <a:pt x="2715768" y="0"/>
                    </a:lnTo>
                    <a:close/>
                  </a:path>
                </a:pathLst>
              </a:custGeom>
              <a:solidFill>
                <a:srgbClr val="FF0000">
                  <a:alpha val="25000"/>
                </a:srgb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00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26" name="Freeform 25"/>
              <p:cNvSpPr/>
              <p:nvPr/>
            </p:nvSpPr>
            <p:spPr>
              <a:xfrm>
                <a:off x="3490866" y="3469112"/>
                <a:ext cx="1784463" cy="1267207"/>
              </a:xfrm>
              <a:custGeom>
                <a:avLst/>
                <a:gdLst>
                  <a:gd name="connsiteX0" fmla="*/ 2267712 w 2267712"/>
                  <a:gd name="connsiteY0" fmla="*/ 1014984 h 1609344"/>
                  <a:gd name="connsiteX1" fmla="*/ 1335024 w 2267712"/>
                  <a:gd name="connsiteY1" fmla="*/ 685800 h 1609344"/>
                  <a:gd name="connsiteX2" fmla="*/ 548640 w 2267712"/>
                  <a:gd name="connsiteY2" fmla="*/ 320040 h 1609344"/>
                  <a:gd name="connsiteX3" fmla="*/ 0 w 2267712"/>
                  <a:gd name="connsiteY3" fmla="*/ 0 h 1609344"/>
                  <a:gd name="connsiteX4" fmla="*/ 347472 w 2267712"/>
                  <a:gd name="connsiteY4" fmla="*/ 347472 h 1609344"/>
                  <a:gd name="connsiteX5" fmla="*/ 1033272 w 2267712"/>
                  <a:gd name="connsiteY5" fmla="*/ 841248 h 1609344"/>
                  <a:gd name="connsiteX6" fmla="*/ 1819656 w 2267712"/>
                  <a:gd name="connsiteY6" fmla="*/ 1344168 h 1609344"/>
                  <a:gd name="connsiteX7" fmla="*/ 2267712 w 2267712"/>
                  <a:gd name="connsiteY7" fmla="*/ 1609344 h 1609344"/>
                  <a:gd name="connsiteX8" fmla="*/ 2267712 w 2267712"/>
                  <a:gd name="connsiteY8" fmla="*/ 1014984 h 1609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67712" h="1609344">
                    <a:moveTo>
                      <a:pt x="2267712" y="1014984"/>
                    </a:moveTo>
                    <a:lnTo>
                      <a:pt x="1335024" y="685800"/>
                    </a:lnTo>
                    <a:lnTo>
                      <a:pt x="548640" y="320040"/>
                    </a:lnTo>
                    <a:lnTo>
                      <a:pt x="0" y="0"/>
                    </a:lnTo>
                    <a:lnTo>
                      <a:pt x="347472" y="347472"/>
                    </a:lnTo>
                    <a:lnTo>
                      <a:pt x="1033272" y="841248"/>
                    </a:lnTo>
                    <a:lnTo>
                      <a:pt x="1819656" y="1344168"/>
                    </a:lnTo>
                    <a:lnTo>
                      <a:pt x="2267712" y="1609344"/>
                    </a:lnTo>
                    <a:lnTo>
                      <a:pt x="2267712" y="1014984"/>
                    </a:lnTo>
                    <a:close/>
                  </a:path>
                </a:pathLst>
              </a:custGeom>
              <a:solidFill>
                <a:srgbClr val="00B050">
                  <a:alpha val="25000"/>
                </a:srgb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000" dirty="0">
                  <a:solidFill>
                    <a:prstClr val="white"/>
                  </a:solidFill>
                  <a:latin typeface="+mj-lt"/>
                </a:endParaRPr>
              </a:p>
            </p:txBody>
          </p:sp>
        </p:grpSp>
        <p:sp>
          <p:nvSpPr>
            <p:cNvPr id="29" name="TextBox 28"/>
            <p:cNvSpPr txBox="1"/>
            <p:nvPr/>
          </p:nvSpPr>
          <p:spPr>
            <a:xfrm>
              <a:off x="7799614" y="1442329"/>
              <a:ext cx="756941" cy="24659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dirty="0">
                  <a:latin typeface="+mj-lt"/>
                </a:rPr>
                <a:t>[0,0,0,0]</a:t>
              </a:r>
            </a:p>
          </p:txBody>
        </p:sp>
      </p:grpSp>
      <p:sp>
        <p:nvSpPr>
          <p:cNvPr id="150531" name="Rectangle 55"/>
          <p:cNvSpPr>
            <a:spLocks noChangeArrowheads="1"/>
          </p:cNvSpPr>
          <p:nvPr/>
        </p:nvSpPr>
        <p:spPr bwMode="auto">
          <a:xfrm>
            <a:off x="827088" y="1587500"/>
            <a:ext cx="367347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>
                <a:solidFill>
                  <a:srgbClr val="002060"/>
                </a:solidFill>
                <a:latin typeface="HP Display Beta Light"/>
              </a:rPr>
              <a:t>Color gamut coverage</a:t>
            </a:r>
          </a:p>
        </p:txBody>
      </p:sp>
      <p:grpSp>
        <p:nvGrpSpPr>
          <p:cNvPr id="3" name="Rectangular Callout 2"/>
          <p:cNvGrpSpPr>
            <a:grpSpLocks/>
          </p:cNvGrpSpPr>
          <p:nvPr/>
        </p:nvGrpSpPr>
        <p:grpSpPr bwMode="auto">
          <a:xfrm>
            <a:off x="2651125" y="2693988"/>
            <a:ext cx="1824038" cy="890587"/>
            <a:chOff x="1670" y="1697"/>
            <a:chExt cx="1149" cy="561"/>
          </a:xfrm>
        </p:grpSpPr>
        <p:pic>
          <p:nvPicPr>
            <p:cNvPr id="150532" name="Rectangular Callout 2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670" y="1697"/>
              <a:ext cx="1149" cy="561"/>
            </a:xfrm>
            <a:prstGeom prst="rect">
              <a:avLst/>
            </a:prstGeom>
            <a:noFill/>
          </p:spPr>
        </p:pic>
        <p:sp>
          <p:nvSpPr>
            <p:cNvPr id="150533" name="Text Box 5"/>
            <p:cNvSpPr txBox="1">
              <a:spLocks noChangeArrowheads="1"/>
            </p:cNvSpPr>
            <p:nvPr/>
          </p:nvSpPr>
          <p:spPr bwMode="auto">
            <a:xfrm>
              <a:off x="2252" y="1707"/>
              <a:ext cx="558" cy="5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spcBef>
                  <a:spcPct val="50000"/>
                </a:spcBef>
              </a:pPr>
              <a:r>
                <a:rPr lang="en-US" sz="1600">
                  <a:solidFill>
                    <a:schemeClr val="bg1"/>
                  </a:solidFill>
                  <a:latin typeface="HP Display Beta Regular"/>
                </a:rPr>
                <a:t>EPM color gamut</a:t>
              </a: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5241925" y="2732088"/>
            <a:ext cx="3260725" cy="2032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b="1" dirty="0">
                <a:latin typeface="HP Display Beta Regular" pitchFamily="34" charset="0"/>
              </a:rPr>
              <a:t>Idealno za</a:t>
            </a:r>
            <a:r>
              <a:rPr lang="en-US" b="1" dirty="0">
                <a:latin typeface="HP Display Beta Regular" pitchFamily="34" charset="0"/>
              </a:rPr>
              <a:t>: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hr-HR" dirty="0">
                <a:latin typeface="HP Display Beta Regular" pitchFamily="34" charset="0"/>
              </a:rPr>
              <a:t>Kolorne poslove s velikom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dirty="0">
                <a:latin typeface="HP Display Beta Regular" pitchFamily="34" charset="0"/>
              </a:rPr>
              <a:t>pokrivenošću</a:t>
            </a:r>
            <a:endParaRPr lang="en-US" dirty="0">
              <a:latin typeface="HP Display Beta Regular" pitchFamily="34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hr-HR" dirty="0">
                <a:latin typeface="HP Display Beta Regular" pitchFamily="34" charset="0"/>
              </a:rPr>
              <a:t>Fontove do </a:t>
            </a:r>
            <a:r>
              <a:rPr lang="en-US" dirty="0">
                <a:latin typeface="HP Display Beta Regular" pitchFamily="34" charset="0"/>
              </a:rPr>
              <a:t>3 pt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HP Display Beta Regular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b="1" dirty="0">
                <a:latin typeface="HP Display Beta Regular" pitchFamily="34" charset="0"/>
              </a:rPr>
              <a:t>Manje relevantno za</a:t>
            </a:r>
            <a:r>
              <a:rPr lang="en-US" b="1" dirty="0">
                <a:latin typeface="HP Display Beta Regular" pitchFamily="34" charset="0"/>
              </a:rPr>
              <a:t>: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hr-HR" dirty="0">
                <a:latin typeface="HP Display Beta Regular" pitchFamily="34" charset="0"/>
              </a:rPr>
              <a:t>Tisak intenzivno crne</a:t>
            </a:r>
            <a:endParaRPr lang="en-US" dirty="0">
              <a:latin typeface="HP Display Beta Regular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973138"/>
            <a:ext cx="9144000" cy="58848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2578" name="Title 1"/>
          <p:cNvSpPr>
            <a:spLocks noGrp="1"/>
          </p:cNvSpPr>
          <p:nvPr>
            <p:ph type="title"/>
          </p:nvPr>
        </p:nvSpPr>
        <p:spPr>
          <a:xfrm>
            <a:off x="912813" y="122238"/>
            <a:ext cx="6030912" cy="698500"/>
          </a:xfrm>
        </p:spPr>
        <p:txBody>
          <a:bodyPr anchor="t"/>
          <a:lstStyle/>
          <a:p>
            <a:r>
              <a:rPr lang="en-US" sz="3600" b="1" smtClean="0">
                <a:latin typeface="Futura"/>
              </a:rPr>
              <a:t>EPM </a:t>
            </a:r>
            <a:r>
              <a:rPr lang="hr-HR" sz="3600" b="1" smtClean="0">
                <a:latin typeface="Futura"/>
              </a:rPr>
              <a:t>uzorci</a:t>
            </a:r>
            <a:endParaRPr lang="en-US" sz="3600" b="1" smtClean="0">
              <a:latin typeface="Futura"/>
            </a:endParaRPr>
          </a:p>
        </p:txBody>
      </p:sp>
      <p:grpSp>
        <p:nvGrpSpPr>
          <p:cNvPr id="152579" name="Group 5"/>
          <p:cNvGrpSpPr>
            <a:grpSpLocks/>
          </p:cNvGrpSpPr>
          <p:nvPr/>
        </p:nvGrpSpPr>
        <p:grpSpPr bwMode="auto">
          <a:xfrm>
            <a:off x="4335463" y="4395788"/>
            <a:ext cx="1212850" cy="1976437"/>
            <a:chOff x="2788538" y="4465320"/>
            <a:chExt cx="1213744" cy="1976338"/>
          </a:xfrm>
        </p:grpSpPr>
        <p:pic>
          <p:nvPicPr>
            <p:cNvPr id="152589" name="Picture 6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2788539" y="4465320"/>
              <a:ext cx="1213743" cy="1976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2590" name="Picture 6"/>
            <p:cNvPicPr>
              <a:picLocks noChangeAspect="1" noChangeArrowheads="1"/>
            </p:cNvPicPr>
            <p:nvPr/>
          </p:nvPicPr>
          <p:blipFill>
            <a:blip r:embed="rId4"/>
            <a:srcRect l="50491" t="6306" r="864" b="1311"/>
            <a:stretch>
              <a:fillRect/>
            </a:stretch>
          </p:blipFill>
          <p:spPr bwMode="auto">
            <a:xfrm>
              <a:off x="2788538" y="4615852"/>
              <a:ext cx="1154849" cy="18258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52580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102100" y="1836738"/>
            <a:ext cx="1646238" cy="1223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258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383338" y="3078163"/>
            <a:ext cx="1554162" cy="1287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2582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337300" y="1846263"/>
            <a:ext cx="1646238" cy="1223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2583" name="Picture 3"/>
          <p:cNvPicPr>
            <a:picLocks noChangeAspect="1" noChangeArrowheads="1"/>
          </p:cNvPicPr>
          <p:nvPr/>
        </p:nvPicPr>
        <p:blipFill>
          <a:blip r:embed="rId6">
            <a:lum contrast="-20000"/>
          </a:blip>
          <a:srcRect/>
          <a:stretch>
            <a:fillRect/>
          </a:stretch>
        </p:blipFill>
        <p:spPr bwMode="auto">
          <a:xfrm>
            <a:off x="4148138" y="3078163"/>
            <a:ext cx="1554162" cy="1287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2584" name="Picture 6"/>
          <p:cNvPicPr>
            <a:picLocks noChangeAspect="1" noChangeArrowheads="1"/>
          </p:cNvPicPr>
          <p:nvPr/>
        </p:nvPicPr>
        <p:blipFill>
          <a:blip r:embed="rId4"/>
          <a:srcRect l="50000"/>
          <a:stretch>
            <a:fillRect/>
          </a:stretch>
        </p:blipFill>
        <p:spPr bwMode="auto">
          <a:xfrm>
            <a:off x="6567488" y="4437063"/>
            <a:ext cx="1185862" cy="197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2585" name="Picture 5" descr="https://encrypted-tbn3.google.com/images?q=tbn:ANd9GcSVlbIr4cPcxcPeNZYZzOWf5MSwnidP07TwXLs-JluPR3qWaWeS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376738" y="1012825"/>
            <a:ext cx="1098550" cy="731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2586" name="Picture 5" descr="https://encrypted-tbn3.google.com/images?q=tbn:ANd9GcSVlbIr4cPcxcPeNZYZzOWf5MSwnidP07TwXLs-JluPR3qWaWeS"/>
          <p:cNvPicPr>
            <a:picLocks noChangeAspect="1" noChangeArrowheads="1"/>
          </p:cNvPicPr>
          <p:nvPr/>
        </p:nvPicPr>
        <p:blipFill>
          <a:blip r:embed="rId7"/>
          <a:srcRect r="23808"/>
          <a:stretch>
            <a:fillRect/>
          </a:stretch>
        </p:blipFill>
        <p:spPr bwMode="auto">
          <a:xfrm>
            <a:off x="6742113" y="1012825"/>
            <a:ext cx="836612" cy="731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2587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822950" y="1344613"/>
            <a:ext cx="549275" cy="53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2588" name="TextBox 7"/>
          <p:cNvSpPr txBox="1">
            <a:spLocks noChangeArrowheads="1"/>
          </p:cNvSpPr>
          <p:nvPr/>
        </p:nvSpPr>
        <p:spPr bwMode="auto">
          <a:xfrm>
            <a:off x="277813" y="1905000"/>
            <a:ext cx="2705100" cy="224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r-HR" sz="2800" b="1">
                <a:solidFill>
                  <a:srgbClr val="000000"/>
                </a:solidFill>
                <a:latin typeface="HP Display Beta Regular"/>
                <a:cs typeface="Arial" charset="0"/>
              </a:rPr>
              <a:t>Tip poslova koju su uspješno zmijenjeni koristeći EPM</a:t>
            </a:r>
            <a:endParaRPr lang="en-US" sz="2800" b="1">
              <a:solidFill>
                <a:srgbClr val="000000"/>
              </a:solidFill>
              <a:latin typeface="HP Display Beta Regular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Oval 15"/>
          <p:cNvGrpSpPr>
            <a:grpSpLocks/>
          </p:cNvGrpSpPr>
          <p:nvPr/>
        </p:nvGrpSpPr>
        <p:grpSpPr bwMode="auto">
          <a:xfrm>
            <a:off x="3535363" y="4138613"/>
            <a:ext cx="1371600" cy="1824037"/>
            <a:chOff x="2227" y="2607"/>
            <a:chExt cx="864" cy="1149"/>
          </a:xfrm>
        </p:grpSpPr>
        <p:pic>
          <p:nvPicPr>
            <p:cNvPr id="154626" name="Oval 15"/>
            <p:cNvPicPr>
              <a:picLocks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2227" y="2607"/>
              <a:ext cx="864" cy="1149"/>
            </a:xfrm>
            <a:prstGeom prst="rect">
              <a:avLst/>
            </a:prstGeom>
            <a:noFill/>
          </p:spPr>
        </p:pic>
        <p:sp>
          <p:nvSpPr>
            <p:cNvPr id="154627" name="Text Box 3"/>
            <p:cNvSpPr txBox="1">
              <a:spLocks noChangeArrowheads="1"/>
            </p:cNvSpPr>
            <p:nvPr/>
          </p:nvSpPr>
          <p:spPr bwMode="auto">
            <a:xfrm rot="10800000">
              <a:off x="2357" y="2778"/>
              <a:ext cx="605" cy="8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85000"/>
                </a:lnSpc>
              </a:pPr>
              <a:endParaRPr lang="hr-HR" sz="20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pic>
        <p:nvPicPr>
          <p:cNvPr id="154629" name="Picture 8" descr="face3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471988" y="1082675"/>
            <a:ext cx="4471987" cy="471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4630" name="Title 6"/>
          <p:cNvSpPr>
            <a:spLocks noGrp="1"/>
          </p:cNvSpPr>
          <p:nvPr>
            <p:ph type="title"/>
          </p:nvPr>
        </p:nvSpPr>
        <p:spPr>
          <a:xfrm>
            <a:off x="339725" y="420688"/>
            <a:ext cx="8375650" cy="4397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hr-HR" smtClean="0">
                <a:solidFill>
                  <a:schemeClr val="bg1"/>
                </a:solidFill>
                <a:latin typeface="Futura Bk"/>
              </a:rPr>
              <a:t>HP Indigo</a:t>
            </a:r>
            <a:endParaRPr lang="en-US" smtClean="0">
              <a:solidFill>
                <a:schemeClr val="bg1"/>
              </a:solidFill>
              <a:latin typeface="Futura Bk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8588" y="6369050"/>
            <a:ext cx="8134350" cy="284163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28588" y="6019800"/>
            <a:ext cx="8134350" cy="284163"/>
          </a:xfrm>
          <a:prstGeom prst="rect">
            <a:avLst/>
          </a:prstGeom>
          <a:gradFill>
            <a:gsLst>
              <a:gs pos="0">
                <a:srgbClr val="00B0F0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latin typeface="+mj-lt"/>
            </a:endParaRPr>
          </a:p>
        </p:txBody>
      </p:sp>
      <p:grpSp>
        <p:nvGrpSpPr>
          <p:cNvPr id="14" name="Oval 13"/>
          <p:cNvGrpSpPr>
            <a:grpSpLocks/>
          </p:cNvGrpSpPr>
          <p:nvPr/>
        </p:nvGrpSpPr>
        <p:grpSpPr bwMode="auto">
          <a:xfrm>
            <a:off x="3170238" y="3913188"/>
            <a:ext cx="2273300" cy="2847975"/>
            <a:chOff x="1997" y="2465"/>
            <a:chExt cx="1432" cy="1794"/>
          </a:xfrm>
        </p:grpSpPr>
        <p:pic>
          <p:nvPicPr>
            <p:cNvPr id="154633" name="Oval 13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997" y="2465"/>
              <a:ext cx="1432" cy="1794"/>
            </a:xfrm>
            <a:prstGeom prst="rect">
              <a:avLst/>
            </a:prstGeom>
            <a:noFill/>
          </p:spPr>
        </p:pic>
        <p:sp>
          <p:nvSpPr>
            <p:cNvPr id="154634" name="Text Box 10"/>
            <p:cNvSpPr txBox="1">
              <a:spLocks noChangeArrowheads="1"/>
            </p:cNvSpPr>
            <p:nvPr/>
          </p:nvSpPr>
          <p:spPr bwMode="auto">
            <a:xfrm>
              <a:off x="2273" y="2793"/>
              <a:ext cx="772" cy="10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85000"/>
                </a:lnSpc>
              </a:pPr>
              <a:endParaRPr lang="hr-HR" sz="32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15" name="Oval 14"/>
          <p:cNvGrpSpPr>
            <a:grpSpLocks/>
          </p:cNvGrpSpPr>
          <p:nvPr/>
        </p:nvGrpSpPr>
        <p:grpSpPr bwMode="auto">
          <a:xfrm>
            <a:off x="3767138" y="2773363"/>
            <a:ext cx="1633537" cy="2006600"/>
            <a:chOff x="2373" y="1747"/>
            <a:chExt cx="1029" cy="1264"/>
          </a:xfrm>
        </p:grpSpPr>
        <p:pic>
          <p:nvPicPr>
            <p:cNvPr id="154636" name="Oval 14"/>
            <p:cNvPicPr>
              <a:picLocks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2373" y="1747"/>
              <a:ext cx="1029" cy="1264"/>
            </a:xfrm>
            <a:prstGeom prst="rect">
              <a:avLst/>
            </a:prstGeom>
            <a:noFill/>
          </p:spPr>
        </p:pic>
        <p:sp>
          <p:nvSpPr>
            <p:cNvPr id="154637" name="Text Box 13"/>
            <p:cNvSpPr txBox="1">
              <a:spLocks noChangeArrowheads="1"/>
            </p:cNvSpPr>
            <p:nvPr/>
          </p:nvSpPr>
          <p:spPr bwMode="auto">
            <a:xfrm>
              <a:off x="2590" y="1999"/>
              <a:ext cx="489" cy="6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85000"/>
                </a:lnSpc>
              </a:pPr>
              <a:endParaRPr lang="hr-HR" sz="32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11" name="Oval 10"/>
          <p:cNvGrpSpPr>
            <a:grpSpLocks/>
          </p:cNvGrpSpPr>
          <p:nvPr/>
        </p:nvGrpSpPr>
        <p:grpSpPr bwMode="auto">
          <a:xfrm>
            <a:off x="2651125" y="5200650"/>
            <a:ext cx="1281113" cy="1524000"/>
            <a:chOff x="1670" y="3276"/>
            <a:chExt cx="807" cy="960"/>
          </a:xfrm>
        </p:grpSpPr>
        <p:pic>
          <p:nvPicPr>
            <p:cNvPr id="154639" name="Oval 10"/>
            <p:cNvPicPr>
              <a:picLocks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1670" y="3276"/>
              <a:ext cx="807" cy="960"/>
            </a:xfrm>
            <a:prstGeom prst="rect">
              <a:avLst/>
            </a:prstGeom>
            <a:noFill/>
          </p:spPr>
        </p:pic>
        <p:sp>
          <p:nvSpPr>
            <p:cNvPr id="154640" name="Text Box 16"/>
            <p:cNvSpPr txBox="1">
              <a:spLocks noChangeArrowheads="1"/>
            </p:cNvSpPr>
            <p:nvPr/>
          </p:nvSpPr>
          <p:spPr bwMode="auto">
            <a:xfrm>
              <a:off x="1854" y="3480"/>
              <a:ext cx="331" cy="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85000"/>
                </a:lnSpc>
              </a:pPr>
              <a:endParaRPr lang="hr-HR" sz="32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17" name="Oval 16"/>
          <p:cNvGrpSpPr>
            <a:grpSpLocks/>
          </p:cNvGrpSpPr>
          <p:nvPr/>
        </p:nvGrpSpPr>
        <p:grpSpPr bwMode="auto">
          <a:xfrm>
            <a:off x="4065588" y="2987675"/>
            <a:ext cx="871537" cy="1157288"/>
            <a:chOff x="2561" y="1882"/>
            <a:chExt cx="549" cy="729"/>
          </a:xfrm>
        </p:grpSpPr>
        <p:pic>
          <p:nvPicPr>
            <p:cNvPr id="154642" name="Oval 16"/>
            <p:cNvPicPr>
              <a:picLocks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2561" y="1882"/>
              <a:ext cx="549" cy="729"/>
            </a:xfrm>
            <a:prstGeom prst="rect">
              <a:avLst/>
            </a:prstGeom>
            <a:noFill/>
          </p:spPr>
        </p:pic>
        <p:sp>
          <p:nvSpPr>
            <p:cNvPr id="154643" name="Text Box 19"/>
            <p:cNvSpPr txBox="1">
              <a:spLocks noChangeArrowheads="1"/>
            </p:cNvSpPr>
            <p:nvPr/>
          </p:nvSpPr>
          <p:spPr bwMode="auto">
            <a:xfrm rot="10800000">
              <a:off x="2643" y="1989"/>
              <a:ext cx="383" cy="5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85000"/>
                </a:lnSpc>
              </a:pPr>
              <a:endParaRPr lang="hr-HR" sz="20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pic>
        <p:nvPicPr>
          <p:cNvPr id="154645" name="Picture 19" descr="clarity.jp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219700" y="1862138"/>
            <a:ext cx="1138238" cy="4351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Placeholder 12"/>
          <p:cNvSpPr>
            <a:spLocks noGrp="1"/>
          </p:cNvSpPr>
          <p:nvPr>
            <p:ph type="body" sz="quarter" idx="4294967295"/>
          </p:nvPr>
        </p:nvSpPr>
        <p:spPr>
          <a:xfrm>
            <a:off x="207963" y="1171575"/>
            <a:ext cx="3754437" cy="5180013"/>
          </a:xfrm>
        </p:spPr>
        <p:txBody>
          <a:bodyPr rtlCol="0">
            <a:normAutofit/>
          </a:bodyPr>
          <a:lstStyle/>
          <a:p>
            <a:pPr fontAlgn="auto">
              <a:spcAft>
                <a:spcPts val="1200"/>
              </a:spcAft>
              <a:buClr>
                <a:schemeClr val="bg1"/>
              </a:buClr>
              <a:buFont typeface="Arial" pitchFamily="34" charset="0"/>
              <a:buChar char="•"/>
              <a:defRPr/>
            </a:pPr>
            <a:r>
              <a:rPr lang="hr-HR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edinstveni digitalni proces tiska s </a:t>
            </a:r>
            <a:r>
              <a:rPr lang="hr-HR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ZUZETNOM KVALITETOM </a:t>
            </a:r>
            <a:r>
              <a:rPr lang="hr-HR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produkcije digitalnog zapisa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!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Title 6"/>
          <p:cNvSpPr>
            <a:spLocks noGrp="1"/>
          </p:cNvSpPr>
          <p:nvPr>
            <p:ph type="title"/>
          </p:nvPr>
        </p:nvSpPr>
        <p:spPr>
          <a:xfrm>
            <a:off x="339725" y="420688"/>
            <a:ext cx="8375650" cy="4397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endParaRPr lang="hr-HR" smtClean="0">
              <a:latin typeface="Futura Bk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4294967295"/>
          </p:nvPr>
        </p:nvSpPr>
        <p:spPr>
          <a:xfrm>
            <a:off x="257175" y="1252538"/>
            <a:ext cx="3616325" cy="5178425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hr-HR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 savršeni registar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…</a:t>
            </a:r>
          </a:p>
          <a:p>
            <a:pPr lvl="1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en-US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en-US" sz="28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en-US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en-US" sz="28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4791075" y="1257300"/>
            <a:ext cx="3098800" cy="5046663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100000">
                <a:srgbClr val="FF0000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latin typeface="+mj-lt"/>
            </a:endParaRPr>
          </a:p>
        </p:txBody>
      </p:sp>
      <p:pic>
        <p:nvPicPr>
          <p:cNvPr id="2" name="Group 44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59363" y="1616075"/>
            <a:ext cx="2713037" cy="4437063"/>
          </a:xfrm>
          <a:prstGeom prst="rect">
            <a:avLst/>
          </a:prstGeom>
          <a:noFill/>
        </p:spPr>
      </p:pic>
      <p:grpSp>
        <p:nvGrpSpPr>
          <p:cNvPr id="155654" name="Group 29"/>
          <p:cNvGrpSpPr>
            <a:grpSpLocks/>
          </p:cNvGrpSpPr>
          <p:nvPr/>
        </p:nvGrpSpPr>
        <p:grpSpPr bwMode="auto">
          <a:xfrm>
            <a:off x="857250" y="2963863"/>
            <a:ext cx="2482850" cy="1706562"/>
            <a:chOff x="1470991" y="2538738"/>
            <a:chExt cx="1255170" cy="647462"/>
          </a:xfrm>
        </p:grpSpPr>
        <p:sp>
          <p:nvSpPr>
            <p:cNvPr id="20" name="Rectangle 19"/>
            <p:cNvSpPr/>
            <p:nvPr/>
          </p:nvSpPr>
          <p:spPr>
            <a:xfrm>
              <a:off x="1470991" y="2538738"/>
              <a:ext cx="618757" cy="295122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470991" y="2833860"/>
              <a:ext cx="618757" cy="5721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470991" y="2891078"/>
              <a:ext cx="618757" cy="295122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2089748" y="2538738"/>
              <a:ext cx="636413" cy="2951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2089748" y="2833860"/>
              <a:ext cx="636413" cy="57217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2089748" y="2891078"/>
              <a:ext cx="636413" cy="2951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prstClr val="white"/>
                </a:solidFill>
                <a:latin typeface="+mj-lt"/>
              </a:endParaRPr>
            </a:p>
          </p:txBody>
        </p:sp>
      </p:grpSp>
      <p:grpSp>
        <p:nvGrpSpPr>
          <p:cNvPr id="155655" name="Group 30"/>
          <p:cNvGrpSpPr>
            <a:grpSpLocks/>
          </p:cNvGrpSpPr>
          <p:nvPr/>
        </p:nvGrpSpPr>
        <p:grpSpPr bwMode="auto">
          <a:xfrm>
            <a:off x="3867150" y="2387600"/>
            <a:ext cx="323850" cy="222250"/>
            <a:chOff x="1470991" y="2538738"/>
            <a:chExt cx="1255170" cy="647462"/>
          </a:xfrm>
        </p:grpSpPr>
        <p:sp>
          <p:nvSpPr>
            <p:cNvPr id="32" name="Rectangle 31"/>
            <p:cNvSpPr/>
            <p:nvPr/>
          </p:nvSpPr>
          <p:spPr>
            <a:xfrm>
              <a:off x="1470991" y="2538738"/>
              <a:ext cx="621434" cy="295983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1470991" y="2834721"/>
              <a:ext cx="621434" cy="554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1470991" y="2890217"/>
              <a:ext cx="621434" cy="295983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2092425" y="2538738"/>
              <a:ext cx="633736" cy="2959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2092425" y="2834721"/>
              <a:ext cx="633736" cy="55497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prstClr val="white"/>
                </a:solidFill>
                <a:latin typeface="+mj-lt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2092425" y="2890217"/>
              <a:ext cx="633736" cy="2959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prstClr val="white"/>
                </a:solidFill>
                <a:latin typeface="+mj-lt"/>
              </a:endParaRPr>
            </a:p>
          </p:txBody>
        </p:sp>
      </p:grpSp>
      <p:sp>
        <p:nvSpPr>
          <p:cNvPr id="38" name="Rectangle 37"/>
          <p:cNvSpPr/>
          <p:nvPr/>
        </p:nvSpPr>
        <p:spPr>
          <a:xfrm>
            <a:off x="3816350" y="2301875"/>
            <a:ext cx="431800" cy="401638"/>
          </a:xfrm>
          <a:prstGeom prst="rect">
            <a:avLst/>
          </a:prstGeom>
          <a:noFill/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788988" y="2824163"/>
            <a:ext cx="2646362" cy="1954212"/>
          </a:xfrm>
          <a:prstGeom prst="rect">
            <a:avLst/>
          </a:prstGeom>
          <a:noFill/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latin typeface="+mj-lt"/>
            </a:endParaRPr>
          </a:p>
        </p:txBody>
      </p:sp>
      <p:cxnSp>
        <p:nvCxnSpPr>
          <p:cNvPr id="41" name="Straight Arrow Connector 40"/>
          <p:cNvCxnSpPr>
            <a:stCxn id="38" idx="1"/>
          </p:cNvCxnSpPr>
          <p:nvPr/>
        </p:nvCxnSpPr>
        <p:spPr>
          <a:xfrm rot="10800000" flipV="1">
            <a:off x="3435350" y="2503488"/>
            <a:ext cx="381000" cy="214312"/>
          </a:xfrm>
          <a:prstGeom prst="straightConnector1">
            <a:avLst/>
          </a:prstGeom>
          <a:ln w="19050">
            <a:solidFill>
              <a:srgbClr val="FFFF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07950" y="685800"/>
            <a:ext cx="6453188" cy="1181100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solidFill>
                  <a:schemeClr val="bg1"/>
                </a:solidFill>
                <a:latin typeface="HP Display Beta Regular" pitchFamily="34" charset="0"/>
              </a:rPr>
              <a:t>HP Indigo WS4600 </a:t>
            </a:r>
            <a:br>
              <a:rPr lang="en-US" dirty="0" smtClean="0">
                <a:solidFill>
                  <a:schemeClr val="bg1"/>
                </a:solidFill>
                <a:latin typeface="HP Display Beta Regular" pitchFamily="34" charset="0"/>
              </a:rPr>
            </a:br>
            <a:r>
              <a:rPr lang="en-US" dirty="0" smtClean="0">
                <a:solidFill>
                  <a:schemeClr val="bg1"/>
                </a:solidFill>
                <a:latin typeface="HP Display Beta Regular" pitchFamily="34" charset="0"/>
              </a:rPr>
              <a:t>Digital Press</a:t>
            </a:r>
            <a:endParaRPr lang="en-US" dirty="0">
              <a:solidFill>
                <a:schemeClr val="bg1"/>
              </a:solidFill>
              <a:latin typeface="HP Display Beta Regular" pitchFamily="34" charset="0"/>
            </a:endParaRPr>
          </a:p>
        </p:txBody>
      </p:sp>
      <p:pic>
        <p:nvPicPr>
          <p:cNvPr id="156675" name="Picture 7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371600" y="1447800"/>
            <a:ext cx="7772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083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4" name="think-cell Slide" r:id="rId6" imgW="360" imgH="360" progId="">
              <p:embed/>
            </p:oleObj>
          </a:graphicData>
        </a:graphic>
      </p:graphicFrame>
      <p:pic>
        <p:nvPicPr>
          <p:cNvPr id="120835" name="Picture 6" descr="http://zentx.files.wordpress.com/2010/11/cmyk_rgb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200025" y="2566988"/>
            <a:ext cx="3276600" cy="151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0836" name="Rectangle 2"/>
          <p:cNvSpPr>
            <a:spLocks noChangeArrowheads="1"/>
          </p:cNvSpPr>
          <p:nvPr/>
        </p:nvSpPr>
        <p:spPr bwMode="auto">
          <a:xfrm>
            <a:off x="3779838" y="476250"/>
            <a:ext cx="507365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en-US" sz="3600" b="1">
                <a:solidFill>
                  <a:srgbClr val="000000"/>
                </a:solidFill>
                <a:latin typeface="Futura"/>
              </a:rPr>
              <a:t>HP Indigo</a:t>
            </a:r>
            <a:endParaRPr lang="hr-HR" sz="3600" b="1">
              <a:solidFill>
                <a:srgbClr val="000000"/>
              </a:solidFill>
              <a:latin typeface="Futura"/>
            </a:endParaRPr>
          </a:p>
          <a:p>
            <a:pPr defTabSz="457200"/>
            <a:r>
              <a:rPr lang="hr-HR" sz="2400" b="1">
                <a:solidFill>
                  <a:srgbClr val="000000"/>
                </a:solidFill>
                <a:latin typeface="Futura"/>
              </a:rPr>
              <a:t>superiorna kvaliteta</a:t>
            </a:r>
            <a:endParaRPr lang="en-US" sz="2400" b="1">
              <a:solidFill>
                <a:srgbClr val="000000"/>
              </a:solidFill>
              <a:latin typeface="Futura"/>
            </a:endParaRPr>
          </a:p>
        </p:txBody>
      </p:sp>
      <p:sp>
        <p:nvSpPr>
          <p:cNvPr id="120837" name="Rectangle 5"/>
          <p:cNvSpPr>
            <a:spLocks noChangeArrowheads="1"/>
          </p:cNvSpPr>
          <p:nvPr/>
        </p:nvSpPr>
        <p:spPr bwMode="auto">
          <a:xfrm>
            <a:off x="3779838" y="2057400"/>
            <a:ext cx="5113337" cy="397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en-US">
                <a:solidFill>
                  <a:srgbClr val="000000"/>
                </a:solidFill>
                <a:latin typeface="HP Display Beta Regular"/>
              </a:rPr>
              <a:t>ElectroInk </a:t>
            </a:r>
            <a:r>
              <a:rPr lang="hr-HR">
                <a:solidFill>
                  <a:srgbClr val="000000"/>
                </a:solidFill>
                <a:latin typeface="HP Display Beta Regular"/>
              </a:rPr>
              <a:t>i sam</a:t>
            </a:r>
            <a:r>
              <a:rPr lang="en-US">
                <a:solidFill>
                  <a:srgbClr val="000000"/>
                </a:solidFill>
                <a:latin typeface="HP Display Beta Regular"/>
              </a:rPr>
              <a:t> Indigo </a:t>
            </a:r>
            <a:r>
              <a:rPr lang="hr-HR">
                <a:solidFill>
                  <a:srgbClr val="000000"/>
                </a:solidFill>
                <a:latin typeface="HP Display Beta Regular"/>
              </a:rPr>
              <a:t>proces omogućavaju tisak jasnih linija, glatkih vinjeta i atraktivnih slika</a:t>
            </a:r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r>
              <a:rPr lang="hr-HR">
                <a:solidFill>
                  <a:srgbClr val="000000"/>
                </a:solidFill>
                <a:latin typeface="HP Display Beta Regular"/>
              </a:rPr>
              <a:t>Vrlo tanak sloj boje na podlozi</a:t>
            </a:r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r>
              <a:rPr lang="hr-HR">
                <a:solidFill>
                  <a:srgbClr val="000000"/>
                </a:solidFill>
                <a:latin typeface="HP Display Beta Regular"/>
              </a:rPr>
              <a:t>Do 7 kolornih modula, </a:t>
            </a:r>
            <a:r>
              <a:rPr lang="en-US">
                <a:solidFill>
                  <a:srgbClr val="000000"/>
                </a:solidFill>
                <a:latin typeface="HP Display Beta Regular"/>
              </a:rPr>
              <a:t>Up to 7 ink stations, </a:t>
            </a:r>
            <a:r>
              <a:rPr lang="hr-HR">
                <a:solidFill>
                  <a:srgbClr val="000000"/>
                </a:solidFill>
                <a:latin typeface="HP Display Beta Regular"/>
              </a:rPr>
              <a:t>prošireni kolor gamut, ElectroInk bijela i ostale posebne boje</a:t>
            </a:r>
          </a:p>
          <a:p>
            <a:pPr defTabSz="457200"/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r>
              <a:rPr lang="hr-HR">
                <a:solidFill>
                  <a:srgbClr val="000000"/>
                </a:solidFill>
                <a:latin typeface="HP Display Beta Regular"/>
              </a:rPr>
              <a:t>Tisak sa </a:t>
            </a:r>
            <a:r>
              <a:rPr lang="en-US">
                <a:solidFill>
                  <a:srgbClr val="000000"/>
                </a:solidFill>
                <a:latin typeface="HP Display Beta Regular"/>
              </a:rPr>
              <a:t>4-, 6- </a:t>
            </a:r>
            <a:r>
              <a:rPr lang="hr-HR">
                <a:solidFill>
                  <a:srgbClr val="000000"/>
                </a:solidFill>
                <a:latin typeface="HP Display Beta Regular"/>
              </a:rPr>
              <a:t>ili</a:t>
            </a:r>
            <a:r>
              <a:rPr lang="en-US">
                <a:solidFill>
                  <a:srgbClr val="000000"/>
                </a:solidFill>
                <a:latin typeface="HP Display Beta Regular"/>
              </a:rPr>
              <a:t> 7-</a:t>
            </a:r>
            <a:r>
              <a:rPr lang="hr-HR">
                <a:solidFill>
                  <a:srgbClr val="000000"/>
                </a:solidFill>
                <a:latin typeface="HP Display Beta Regular"/>
              </a:rPr>
              <a:t> procesnih boja za tisak prezinih Pantone emulacija</a:t>
            </a:r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r>
              <a:rPr lang="hr-HR">
                <a:solidFill>
                  <a:srgbClr val="000000"/>
                </a:solidFill>
                <a:latin typeface="HP Display Beta Regular"/>
              </a:rPr>
              <a:t>Spot boje, miješanje u Ink Mixing Stationa, Pantone certificirane boje</a:t>
            </a:r>
            <a:endParaRPr lang="en-US">
              <a:solidFill>
                <a:srgbClr val="000000"/>
              </a:solidFill>
              <a:latin typeface="HP Display Beta Regular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1858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858" name="think-cell Slide" r:id="rId7" imgW="360" imgH="360" progId="">
              <p:embed/>
            </p:oleObj>
          </a:graphicData>
        </a:graphic>
      </p:graphicFrame>
      <p:sp>
        <p:nvSpPr>
          <p:cNvPr id="121859" name="Rectangle 2"/>
          <p:cNvSpPr>
            <a:spLocks noChangeArrowheads="1"/>
          </p:cNvSpPr>
          <p:nvPr/>
        </p:nvSpPr>
        <p:spPr bwMode="auto">
          <a:xfrm>
            <a:off x="3779838" y="476250"/>
            <a:ext cx="5216525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chemeClr val="tx2"/>
              </a:buClr>
            </a:pPr>
            <a:r>
              <a:rPr lang="hr-HR" sz="2400">
                <a:solidFill>
                  <a:srgbClr val="000000"/>
                </a:solidFill>
                <a:latin typeface="HP Display Beta Light"/>
              </a:rPr>
              <a:t>Tisak kolornih poslova do 21 m/min   </a:t>
            </a:r>
          </a:p>
          <a:p>
            <a:pPr>
              <a:buClr>
                <a:schemeClr val="tx2"/>
              </a:buClr>
            </a:pPr>
            <a:r>
              <a:rPr lang="hr-HR" sz="2400">
                <a:solidFill>
                  <a:srgbClr val="000000"/>
                </a:solidFill>
                <a:latin typeface="HP Display Beta Light"/>
              </a:rPr>
              <a:t> maksimalna brzina tiska 32 m/min</a:t>
            </a:r>
            <a:endParaRPr lang="en-US" sz="2400">
              <a:solidFill>
                <a:srgbClr val="000000"/>
              </a:solidFill>
              <a:latin typeface="HP Display Beta Light"/>
            </a:endParaRPr>
          </a:p>
        </p:txBody>
      </p:sp>
      <p:sp>
        <p:nvSpPr>
          <p:cNvPr id="121860" name="Rectangle 5"/>
          <p:cNvSpPr>
            <a:spLocks noChangeArrowheads="1"/>
          </p:cNvSpPr>
          <p:nvPr/>
        </p:nvSpPr>
        <p:spPr bwMode="auto">
          <a:xfrm>
            <a:off x="3779838" y="2028825"/>
            <a:ext cx="5113337" cy="286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>
                <a:latin typeface="HP Display Beta Regular"/>
                <a:ea typeface="ＭＳ Ｐゴシック"/>
                <a:cs typeface="ＭＳ Ｐゴシック"/>
                <a:sym typeface="Futura Bk"/>
              </a:rPr>
              <a:t>Tisak četverobojnih CMYK poslova iz 3 boje</a:t>
            </a:r>
            <a:endParaRPr lang="en-US">
              <a:latin typeface="Futura"/>
              <a:ea typeface="ＭＳ Ｐゴシック"/>
              <a:cs typeface="ＭＳ Ｐゴシック"/>
              <a:sym typeface="Futura Bk"/>
            </a:endParaRPr>
          </a:p>
          <a:p>
            <a:endParaRPr lang="en-US">
              <a:latin typeface="Futura"/>
              <a:ea typeface="ＭＳ Ｐゴシック"/>
              <a:cs typeface="ＭＳ Ｐゴシック"/>
              <a:sym typeface="Futura Bk"/>
            </a:endParaRPr>
          </a:p>
          <a:p>
            <a:r>
              <a:rPr lang="hr-HR">
                <a:latin typeface="HP Display Beta Regular"/>
                <a:ea typeface="ＭＳ Ｐゴシック"/>
                <a:cs typeface="ＭＳ Ｐゴシック"/>
                <a:sym typeface="Futura Bk"/>
              </a:rPr>
              <a:t>Povećanje produktivnosti za </a:t>
            </a:r>
            <a:r>
              <a:rPr lang="en-US">
                <a:latin typeface="Futura"/>
                <a:ea typeface="ＭＳ Ｐゴシック"/>
                <a:cs typeface="ＭＳ Ｐゴシック"/>
                <a:sym typeface="Futura Bk"/>
              </a:rPr>
              <a:t>33%</a:t>
            </a:r>
          </a:p>
          <a:p>
            <a:endParaRPr lang="en-US">
              <a:latin typeface="Futura"/>
              <a:ea typeface="ＭＳ Ｐゴシック"/>
              <a:cs typeface="ＭＳ Ｐゴシック"/>
              <a:sym typeface="Futura Bk"/>
            </a:endParaRPr>
          </a:p>
          <a:p>
            <a:r>
              <a:rPr lang="hr-HR">
                <a:latin typeface="HP Display Beta Regular"/>
                <a:ea typeface="ＭＳ Ｐゴシック"/>
                <a:cs typeface="ＭＳ Ｐゴシック"/>
              </a:rPr>
              <a:t>Niža cijena otiska za </a:t>
            </a:r>
            <a:r>
              <a:rPr lang="en-US">
                <a:latin typeface="Futura"/>
                <a:ea typeface="ＭＳ Ｐゴシック"/>
                <a:cs typeface="ＭＳ Ｐゴシック"/>
              </a:rPr>
              <a:t>~</a:t>
            </a:r>
            <a:r>
              <a:rPr lang="he-IL">
                <a:latin typeface="Futura"/>
                <a:ea typeface="ＭＳ Ｐゴシック"/>
              </a:rPr>
              <a:t>1</a:t>
            </a:r>
            <a:r>
              <a:rPr lang="en-US">
                <a:latin typeface="Futura"/>
                <a:ea typeface="ＭＳ Ｐゴシック"/>
                <a:cs typeface="ＭＳ Ｐゴシック"/>
              </a:rPr>
              <a:t>4</a:t>
            </a:r>
            <a:r>
              <a:rPr lang="he-IL">
                <a:latin typeface="Futura"/>
              </a:rPr>
              <a:t>%</a:t>
            </a:r>
            <a:endParaRPr lang="en-US">
              <a:latin typeface="Futura"/>
              <a:ea typeface="ＭＳ Ｐゴシック"/>
              <a:cs typeface="ＭＳ Ｐゴシック"/>
            </a:endParaRPr>
          </a:p>
          <a:p>
            <a:endParaRPr lang="en-US">
              <a:latin typeface="Futura"/>
              <a:ea typeface="ＭＳ Ｐゴシック"/>
              <a:cs typeface="ＭＳ Ｐゴシック"/>
              <a:sym typeface="Futura Bk"/>
            </a:endParaRPr>
          </a:p>
          <a:p>
            <a:r>
              <a:rPr lang="hr-HR">
                <a:latin typeface="HP Display Beta Regular"/>
                <a:ea typeface="ＭＳ Ｐゴシック"/>
                <a:cs typeface="ＭＳ Ｐゴシック"/>
                <a:sym typeface="Futura Bk"/>
              </a:rPr>
              <a:t>Prebacivanje između EPM moda i standardnog načina tiska klikom</a:t>
            </a:r>
            <a:endParaRPr lang="en-US">
              <a:latin typeface="Futura"/>
              <a:ea typeface="ＭＳ Ｐゴシック"/>
              <a:cs typeface="ＭＳ Ｐゴシック"/>
              <a:sym typeface="Futura Bk"/>
            </a:endParaRPr>
          </a:p>
          <a:p>
            <a:endParaRPr lang="en-US">
              <a:latin typeface="HP Display Beta Regular"/>
            </a:endParaRPr>
          </a:p>
          <a:p>
            <a:endParaRPr lang="en-US">
              <a:latin typeface="HP Display Beta Regular"/>
            </a:endParaRPr>
          </a:p>
        </p:txBody>
      </p:sp>
      <p:sp>
        <p:nvSpPr>
          <p:cNvPr id="121861" name="Rectangle 2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7488" y="1560513"/>
            <a:ext cx="3240087" cy="95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800" b="1">
                <a:solidFill>
                  <a:srgbClr val="000000"/>
                </a:solidFill>
                <a:latin typeface="HP Display Beta Regular"/>
                <a:cs typeface="Arial" charset="0"/>
              </a:rPr>
              <a:t>Enhanced Productivity</a:t>
            </a:r>
          </a:p>
        </p:txBody>
      </p:sp>
      <p:pic>
        <p:nvPicPr>
          <p:cNvPr id="7" name="Picture 6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1011238" y="2736850"/>
            <a:ext cx="1652587" cy="3389313"/>
          </a:xfrm>
          <a:prstGeom prst="rect">
            <a:avLst/>
          </a:prstGeom>
          <a:noFill/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493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4930" name="think-cell Slide" r:id="rId5" imgW="360" imgH="360" progId="">
              <p:embed/>
            </p:oleObj>
          </a:graphicData>
        </a:graphic>
      </p:graphicFrame>
      <p:sp>
        <p:nvSpPr>
          <p:cNvPr id="124931" name="Rectangle 2"/>
          <p:cNvSpPr>
            <a:spLocks noChangeArrowheads="1"/>
          </p:cNvSpPr>
          <p:nvPr/>
        </p:nvSpPr>
        <p:spPr bwMode="auto">
          <a:xfrm>
            <a:off x="3429000" y="476250"/>
            <a:ext cx="5643563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3600" b="1">
                <a:solidFill>
                  <a:srgbClr val="000000"/>
                </a:solidFill>
                <a:latin typeface="HP Display Beta Light"/>
              </a:rPr>
              <a:t>HP ElectroInk UV </a:t>
            </a:r>
            <a:r>
              <a:rPr lang="hr-HR" sz="3600" b="1">
                <a:solidFill>
                  <a:srgbClr val="000000"/>
                </a:solidFill>
                <a:latin typeface="HP Display Beta Light"/>
              </a:rPr>
              <a:t>Crvena</a:t>
            </a:r>
          </a:p>
          <a:p>
            <a:r>
              <a:rPr lang="hr-HR" sz="2400">
                <a:solidFill>
                  <a:srgbClr val="000000"/>
                </a:solidFill>
                <a:latin typeface="HP Display Beta Light"/>
              </a:rPr>
              <a:t>za sigurnosne aplikacije</a:t>
            </a:r>
            <a:endParaRPr lang="en-US" sz="2400">
              <a:solidFill>
                <a:srgbClr val="000000"/>
              </a:solidFill>
              <a:latin typeface="HP Display Beta Light"/>
            </a:endParaRPr>
          </a:p>
        </p:txBody>
      </p:sp>
      <p:sp>
        <p:nvSpPr>
          <p:cNvPr id="124932" name="Rectangle 5"/>
          <p:cNvSpPr>
            <a:spLocks noChangeArrowheads="1"/>
          </p:cNvSpPr>
          <p:nvPr/>
        </p:nvSpPr>
        <p:spPr bwMode="auto">
          <a:xfrm>
            <a:off x="3505200" y="2255838"/>
            <a:ext cx="5459413" cy="163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>
                <a:solidFill>
                  <a:srgbClr val="000000"/>
                </a:solidFill>
                <a:latin typeface="Futura Bk"/>
              </a:rPr>
              <a:t>UV Red ElectroInk </a:t>
            </a:r>
            <a:r>
              <a:rPr lang="hr-HR" sz="2000">
                <a:solidFill>
                  <a:srgbClr val="000000"/>
                </a:solidFill>
                <a:latin typeface="HP Display Beta Regular"/>
              </a:rPr>
              <a:t>nevidljiva pod sunčevom svjetlošću svijetli crveno pod UV svjetlom</a:t>
            </a:r>
            <a:endParaRPr lang="en-US" sz="2000">
              <a:solidFill>
                <a:srgbClr val="000000"/>
              </a:solidFill>
              <a:latin typeface="Futura Bk"/>
            </a:endParaRPr>
          </a:p>
          <a:p>
            <a:endParaRPr lang="en-US" sz="2000">
              <a:solidFill>
                <a:srgbClr val="000000"/>
              </a:solidFill>
              <a:latin typeface="Futura Bk"/>
            </a:endParaRPr>
          </a:p>
          <a:p>
            <a:r>
              <a:rPr lang="hr-HR" sz="2000">
                <a:solidFill>
                  <a:srgbClr val="000000"/>
                </a:solidFill>
                <a:latin typeface="HP Display Beta Regular"/>
              </a:rPr>
              <a:t>Nove aplikacije nevidljivi QR kodovi, barkodovi ili dizajnerski nevidljivi elementi</a:t>
            </a:r>
            <a:endParaRPr lang="en-US" sz="2000">
              <a:solidFill>
                <a:srgbClr val="000000"/>
              </a:solidFill>
              <a:latin typeface="Futura Bk"/>
            </a:endParaRPr>
          </a:p>
        </p:txBody>
      </p:sp>
      <p:pic>
        <p:nvPicPr>
          <p:cNvPr id="124933" name="Picture 85" descr="C:\Users\vaks\AppData\Local\Microsoft\Windows\Temporary Internet Files\Content.Outlook\YOIW1S3H\Inv ink - Copy.jpg"/>
          <p:cNvPicPr>
            <a:picLocks noChangeAspect="1" noChangeArrowheads="1"/>
          </p:cNvPicPr>
          <p:nvPr/>
        </p:nvPicPr>
        <p:blipFill>
          <a:blip r:embed="rId6"/>
          <a:srcRect r="18320" b="19627"/>
          <a:stretch>
            <a:fillRect/>
          </a:stretch>
        </p:blipFill>
        <p:spPr bwMode="auto">
          <a:xfrm>
            <a:off x="6415088" y="5011738"/>
            <a:ext cx="1403350" cy="1223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6354763" y="6213475"/>
            <a:ext cx="1584325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nvisible barcodes</a:t>
            </a:r>
            <a:endParaRPr lang="en-US" sz="14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76600" y="4810125"/>
            <a:ext cx="1228725" cy="164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724400" y="4800600"/>
            <a:ext cx="1228725" cy="164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  <p:pic>
        <p:nvPicPr>
          <p:cNvPr id="124937" name="Picture 4"/>
          <p:cNvPicPr>
            <a:picLocks noChangeAspect="1" noChangeArrowheads="1"/>
          </p:cNvPicPr>
          <p:nvPr/>
        </p:nvPicPr>
        <p:blipFill>
          <a:blip r:embed="rId9"/>
          <a:srcRect l="27328" t="22115" r="14372" b="4684"/>
          <a:stretch>
            <a:fillRect/>
          </a:stretch>
        </p:blipFill>
        <p:spPr bwMode="auto">
          <a:xfrm>
            <a:off x="8153400" y="4945063"/>
            <a:ext cx="914400" cy="142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4938" name="Picture 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09600" y="2438400"/>
            <a:ext cx="2452688" cy="107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5" name="Title 1"/>
          <p:cNvSpPr>
            <a:spLocks noGrp="1"/>
          </p:cNvSpPr>
          <p:nvPr>
            <p:ph type="title"/>
          </p:nvPr>
        </p:nvSpPr>
        <p:spPr>
          <a:xfrm>
            <a:off x="339725" y="420688"/>
            <a:ext cx="8375650" cy="4397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hr-HR" smtClean="0">
                <a:latin typeface="Futura Bk"/>
              </a:rPr>
              <a:t>Proces prijenosa boje na tiskovnu podlogu</a:t>
            </a:r>
            <a:endParaRPr lang="en-US" smtClean="0">
              <a:latin typeface="Futura Bk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294967295"/>
          </p:nvPr>
        </p:nvSpPr>
        <p:spPr>
          <a:xfrm>
            <a:off x="263525" y="1066800"/>
            <a:ext cx="3724275" cy="4881563"/>
          </a:xfrm>
        </p:spPr>
        <p:txBody>
          <a:bodyPr lIns="0" tIns="0" rIns="0" bIns="0" rtlCol="0">
            <a:normAutofit fontScale="92500" lnSpcReduction="10000"/>
          </a:bodyPr>
          <a:lstStyle/>
          <a:p>
            <a:pPr marL="457200" indent="-457200" fontAlgn="auto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en-US" sz="2000" dirty="0" smtClean="0">
                <a:effectLst>
                  <a:outerShdw sx="1000" sy="1000" algn="tl">
                    <a:srgbClr val="000000"/>
                  </a:outerShdw>
                </a:effectLst>
                <a:latin typeface="Futura"/>
              </a:rPr>
              <a:t>PIP (Photo Imaging Plate) </a:t>
            </a:r>
            <a:r>
              <a:rPr lang="hr-HR" sz="2000" dirty="0" smtClean="0">
                <a:effectLst>
                  <a:outerShdw sx="1000" sy="1000" algn="tl">
                    <a:srgbClr val="000000"/>
                  </a:outerShdw>
                </a:effectLst>
                <a:latin typeface="Futura"/>
              </a:rPr>
              <a:t>se </a:t>
            </a:r>
            <a:r>
              <a:rPr lang="en-US" sz="2000" dirty="0" err="1" smtClean="0">
                <a:effectLst>
                  <a:outerShdw sx="1000" sy="1000" algn="tl">
                    <a:srgbClr val="000000"/>
                  </a:outerShdw>
                </a:effectLst>
                <a:latin typeface="Futura"/>
              </a:rPr>
              <a:t>Scorotron</a:t>
            </a:r>
            <a:r>
              <a:rPr lang="hr-HR" sz="2000" dirty="0" smtClean="0">
                <a:effectLst>
                  <a:outerShdw sx="1000" sy="1000" algn="tl">
                    <a:srgbClr val="000000"/>
                  </a:outerShdw>
                </a:effectLst>
                <a:latin typeface="Futura"/>
              </a:rPr>
              <a:t>-ima nabija elektricitetom</a:t>
            </a:r>
            <a:endParaRPr lang="en-US" sz="2000" dirty="0" smtClean="0">
              <a:effectLst>
                <a:outerShdw sx="1000" sy="1000" algn="tl">
                  <a:srgbClr val="000000"/>
                </a:outerShdw>
              </a:effectLst>
              <a:latin typeface="Futura"/>
            </a:endParaRPr>
          </a:p>
          <a:p>
            <a:pPr marL="457200" indent="-457200" fontAlgn="auto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hr-HR" sz="2000" dirty="0" smtClean="0">
                <a:effectLst>
                  <a:outerShdw sx="1000" sy="1000" algn="tl">
                    <a:srgbClr val="000000"/>
                  </a:outerShdw>
                </a:effectLst>
                <a:latin typeface="Futura"/>
              </a:rPr>
              <a:t>L</a:t>
            </a:r>
            <a:r>
              <a:rPr lang="en-US" sz="2000" dirty="0" err="1" smtClean="0">
                <a:effectLst>
                  <a:outerShdw sx="1000" sy="1000" algn="tl">
                    <a:srgbClr val="000000"/>
                  </a:outerShdw>
                </a:effectLst>
                <a:latin typeface="Futura"/>
              </a:rPr>
              <a:t>aser</a:t>
            </a:r>
            <a:r>
              <a:rPr lang="en-US" sz="2000" dirty="0" smtClean="0">
                <a:effectLst>
                  <a:outerShdw sx="1000" sy="1000" algn="tl">
                    <a:srgbClr val="000000"/>
                  </a:outerShdw>
                </a:effectLst>
                <a:latin typeface="Futura"/>
              </a:rPr>
              <a:t> (writing head)</a:t>
            </a:r>
            <a:r>
              <a:rPr lang="hr-HR" sz="2000" dirty="0" smtClean="0">
                <a:effectLst>
                  <a:outerShdw sx="1000" sy="1000" algn="tl">
                    <a:srgbClr val="000000"/>
                  </a:outerShdw>
                </a:effectLst>
                <a:latin typeface="Futura"/>
              </a:rPr>
              <a:t> osvjetljava  PIP kako bi prenio informacije o separacijama po boji</a:t>
            </a:r>
            <a:endParaRPr lang="en-US" sz="2000" dirty="0" smtClean="0">
              <a:effectLst>
                <a:outerShdw sx="1000" sy="1000" algn="tl">
                  <a:srgbClr val="000000"/>
                </a:outerShdw>
              </a:effectLst>
              <a:latin typeface="Futura"/>
            </a:endParaRPr>
          </a:p>
          <a:p>
            <a:pPr marL="457200" indent="-457200" fontAlgn="auto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en-US" sz="2000" dirty="0" smtClean="0">
                <a:effectLst>
                  <a:outerShdw sx="1000" sy="1000" algn="tl">
                    <a:srgbClr val="000000"/>
                  </a:outerShdw>
                </a:effectLst>
                <a:latin typeface="Futura"/>
              </a:rPr>
              <a:t>BID (Binary Ink Developer) </a:t>
            </a:r>
            <a:r>
              <a:rPr lang="hr-HR" sz="2000" dirty="0" smtClean="0">
                <a:effectLst>
                  <a:outerShdw sx="1000" sy="1000" algn="tl">
                    <a:srgbClr val="000000"/>
                  </a:outerShdw>
                </a:effectLst>
                <a:latin typeface="Futura"/>
              </a:rPr>
              <a:t>nanosi EI (ElectroInk) na PIP po separaciji</a:t>
            </a:r>
            <a:endParaRPr lang="en-US" sz="2000" dirty="0" smtClean="0">
              <a:effectLst>
                <a:outerShdw sx="1000" sy="1000" algn="tl">
                  <a:srgbClr val="000000"/>
                </a:outerShdw>
              </a:effectLst>
              <a:latin typeface="Futura"/>
            </a:endParaRPr>
          </a:p>
          <a:p>
            <a:pPr marL="457200" indent="-457200" fontAlgn="auto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hr-HR" sz="2000" dirty="0" smtClean="0">
                <a:effectLst>
                  <a:outerShdw sx="1000" sy="1000" algn="tl">
                    <a:srgbClr val="000000"/>
                  </a:outerShdw>
                </a:effectLst>
                <a:latin typeface="Futura"/>
              </a:rPr>
              <a:t>Boja se “ljepi” na površine koje su bile osvjetljene laserskom zrakom</a:t>
            </a:r>
            <a:endParaRPr lang="en-US" sz="2000" dirty="0" smtClean="0">
              <a:effectLst>
                <a:outerShdw sx="1000" sy="1000" algn="tl">
                  <a:srgbClr val="000000"/>
                </a:outerShdw>
              </a:effectLst>
              <a:latin typeface="Futura"/>
            </a:endParaRPr>
          </a:p>
          <a:p>
            <a:pPr marL="457200" indent="-457200" fontAlgn="auto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hr-HR" sz="2000" dirty="0" smtClean="0">
                <a:effectLst>
                  <a:outerShdw sx="1000" sy="1000" algn="tl">
                    <a:srgbClr val="000000"/>
                  </a:outerShdw>
                </a:effectLst>
                <a:latin typeface="Futura"/>
              </a:rPr>
              <a:t>Boja se prenosi na gumeni valjak</a:t>
            </a:r>
            <a:endParaRPr lang="en-US" sz="2000" dirty="0" smtClean="0">
              <a:effectLst>
                <a:outerShdw sx="1000" sy="1000" algn="tl">
                  <a:srgbClr val="000000"/>
                </a:outerShdw>
              </a:effectLst>
              <a:latin typeface="Futura"/>
            </a:endParaRPr>
          </a:p>
          <a:p>
            <a:pPr marL="457200" indent="-457200" fontAlgn="auto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/>
            </a:pPr>
            <a:r>
              <a:rPr lang="hr-HR" sz="2000" dirty="0" smtClean="0">
                <a:effectLst>
                  <a:outerShdw sx="1000" sy="1000" algn="tl">
                    <a:srgbClr val="000000"/>
                  </a:outerShdw>
                </a:effectLst>
                <a:latin typeface="Futura"/>
              </a:rPr>
              <a:t>Proces se ponavlja za sljedeću boju</a:t>
            </a:r>
            <a:endParaRPr lang="en-US" sz="2000" dirty="0" smtClean="0">
              <a:effectLst>
                <a:outerShdw sx="1000" sy="1000" algn="tl">
                  <a:srgbClr val="000000"/>
                </a:outerShdw>
              </a:effectLst>
              <a:latin typeface="Futura"/>
            </a:endParaRPr>
          </a:p>
          <a:p>
            <a:pPr marL="457200" indent="-457200" fontAlgn="auto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/>
            </a:pPr>
            <a:endParaRPr lang="en-US" sz="2000" dirty="0" smtClean="0">
              <a:effectLst>
                <a:outerShdw sx="1000" sy="1000" algn="tl">
                  <a:srgbClr val="000000"/>
                </a:outerShdw>
              </a:effectLst>
              <a:latin typeface="Futura"/>
            </a:endParaRPr>
          </a:p>
          <a:p>
            <a:pPr marL="457200" indent="-457200" fontAlgn="auto"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/>
            </a:pPr>
            <a:endParaRPr lang="en-US" sz="2000" dirty="0">
              <a:effectLst>
                <a:outerShdw sx="1000" sy="1000" algn="tl">
                  <a:srgbClr val="000000"/>
                </a:outerShdw>
              </a:effectLst>
              <a:latin typeface="Futura"/>
            </a:endParaRPr>
          </a:p>
        </p:txBody>
      </p:sp>
      <p:pic>
        <p:nvPicPr>
          <p:cNvPr id="10" name="Picture 9" descr="4500 inside view of parts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071938" y="1042988"/>
            <a:ext cx="4024312" cy="1058227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390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06" name="think-cell Slide" r:id="rId18" imgW="360" imgH="360" progId="">
              <p:embed/>
            </p:oleObj>
          </a:graphicData>
        </a:graphic>
      </p:graphicFrame>
      <p:sp>
        <p:nvSpPr>
          <p:cNvPr id="123907" name="Rectangle 2"/>
          <p:cNvSpPr>
            <a:spLocks noChangeArrowheads="1"/>
          </p:cNvSpPr>
          <p:nvPr/>
        </p:nvSpPr>
        <p:spPr bwMode="auto">
          <a:xfrm>
            <a:off x="3779838" y="511175"/>
            <a:ext cx="5216525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chemeClr val="tx2"/>
              </a:buClr>
            </a:pPr>
            <a:r>
              <a:rPr lang="hr-HR" sz="2400">
                <a:solidFill>
                  <a:srgbClr val="000000"/>
                </a:solidFill>
                <a:latin typeface="HP Display Beta Light"/>
              </a:rPr>
              <a:t>Prihvaćanje od strane vodećih svjetskih brendova</a:t>
            </a:r>
            <a:endParaRPr lang="en-US" sz="2400">
              <a:solidFill>
                <a:srgbClr val="000000"/>
              </a:solidFill>
              <a:latin typeface="HP Display Beta Light"/>
            </a:endParaRPr>
          </a:p>
        </p:txBody>
      </p:sp>
      <p:sp>
        <p:nvSpPr>
          <p:cNvPr id="123908" name="Rectangle 5"/>
          <p:cNvSpPr>
            <a:spLocks noChangeArrowheads="1"/>
          </p:cNvSpPr>
          <p:nvPr/>
        </p:nvSpPr>
        <p:spPr bwMode="auto">
          <a:xfrm>
            <a:off x="3779838" y="1779588"/>
            <a:ext cx="5113337" cy="3786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2000">
                <a:latin typeface="HP Display Beta Regular"/>
              </a:rPr>
              <a:t>HP Indigo ElectroInk odgovara zahtjevima vodećih brendova kvalitetom otiska i izgledom na polici.</a:t>
            </a:r>
            <a:endParaRPr lang="en-US" sz="2000">
              <a:latin typeface="Futura"/>
            </a:endParaRPr>
          </a:p>
          <a:p>
            <a:endParaRPr lang="en-GB" sz="2000">
              <a:latin typeface="Futura"/>
            </a:endParaRPr>
          </a:p>
          <a:p>
            <a:r>
              <a:rPr lang="en-GB" sz="2000">
                <a:latin typeface="Futura"/>
              </a:rPr>
              <a:t>HP Indigo </a:t>
            </a:r>
            <a:r>
              <a:rPr lang="hr-HR" sz="2000">
                <a:latin typeface="HP Display Beta Regular"/>
              </a:rPr>
              <a:t>strojevi povećavaju profit pojednostavljenjem izrade multi-SKU, verzija i brže implementacije novih dizajna.</a:t>
            </a:r>
            <a:endParaRPr lang="en-GB" sz="2000">
              <a:latin typeface="Futura"/>
            </a:endParaRPr>
          </a:p>
          <a:p>
            <a:endParaRPr lang="en-GB" sz="2000">
              <a:latin typeface="Futura"/>
            </a:endParaRPr>
          </a:p>
          <a:p>
            <a:r>
              <a:rPr lang="hr-HR" sz="2000">
                <a:solidFill>
                  <a:srgbClr val="000000"/>
                </a:solidFill>
                <a:latin typeface="HP Display Beta Regular"/>
              </a:rPr>
              <a:t>Kratko vrijeme izrade omogućava smanjenje zaliha te fleksibilniju proizvodnju nakon prognoze prodaje.</a:t>
            </a:r>
            <a:endParaRPr lang="en-US" sz="2000">
              <a:solidFill>
                <a:srgbClr val="000000"/>
              </a:solidFill>
              <a:latin typeface="Futura"/>
            </a:endParaRPr>
          </a:p>
          <a:p>
            <a:endParaRPr lang="en-US" sz="2000">
              <a:latin typeface="Futura"/>
            </a:endParaRPr>
          </a:p>
        </p:txBody>
      </p:sp>
      <p:sp>
        <p:nvSpPr>
          <p:cNvPr id="123909" name="Rectangle 2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7488" y="1408113"/>
            <a:ext cx="3240087" cy="95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r-HR" sz="2800" b="1">
                <a:solidFill>
                  <a:srgbClr val="000000"/>
                </a:solidFill>
                <a:latin typeface="HP Display Beta Regular"/>
                <a:cs typeface="Arial" charset="0"/>
              </a:rPr>
              <a:t>Dokazano prihvaćanje</a:t>
            </a:r>
            <a:endParaRPr lang="en-US" sz="2800" b="1">
              <a:solidFill>
                <a:srgbClr val="000000"/>
              </a:solidFill>
              <a:latin typeface="HP Display Beta Regular"/>
              <a:cs typeface="Arial" charset="0"/>
            </a:endParaRPr>
          </a:p>
        </p:txBody>
      </p:sp>
      <p:pic>
        <p:nvPicPr>
          <p:cNvPr id="7" name="Picture 2" descr="http://www.blogto.com/listings/grocery/upload/2008/07/20080713-organics-shelf.jp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9"/>
          <a:srcRect/>
          <a:stretch>
            <a:fillRect/>
          </a:stretch>
        </p:blipFill>
        <p:spPr bwMode="auto">
          <a:xfrm>
            <a:off x="835025" y="2603500"/>
            <a:ext cx="1957388" cy="1292225"/>
          </a:xfrm>
          <a:prstGeom prst="rect">
            <a:avLst/>
          </a:prstGeom>
          <a:noFill/>
        </p:spPr>
      </p:pic>
      <p:grpSp>
        <p:nvGrpSpPr>
          <p:cNvPr id="123911" name="Group 1"/>
          <p:cNvGrpSpPr>
            <a:grpSpLocks/>
          </p:cNvGrpSpPr>
          <p:nvPr/>
        </p:nvGrpSpPr>
        <p:grpSpPr bwMode="auto">
          <a:xfrm>
            <a:off x="3994150" y="5395913"/>
            <a:ext cx="4891088" cy="1436687"/>
            <a:chOff x="4191000" y="5501148"/>
            <a:chExt cx="4891548" cy="1437061"/>
          </a:xfrm>
        </p:grpSpPr>
        <p:pic>
          <p:nvPicPr>
            <p:cNvPr id="123912" name="Picture 3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20"/>
            <a:srcRect t="10834"/>
            <a:stretch>
              <a:fillRect/>
            </a:stretch>
          </p:blipFill>
          <p:spPr bwMode="auto">
            <a:xfrm>
              <a:off x="4252452" y="6204156"/>
              <a:ext cx="822960" cy="7340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3913" name="Picture 4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21"/>
            <a:srcRect/>
            <a:stretch>
              <a:fillRect/>
            </a:stretch>
          </p:blipFill>
          <p:spPr bwMode="auto">
            <a:xfrm>
              <a:off x="6113208" y="6190488"/>
              <a:ext cx="640080" cy="6339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3914" name="Picture 5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22"/>
            <a:srcRect/>
            <a:stretch>
              <a:fillRect/>
            </a:stretch>
          </p:blipFill>
          <p:spPr bwMode="auto">
            <a:xfrm>
              <a:off x="5243052" y="6086756"/>
              <a:ext cx="731520" cy="7619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3915" name="Picture 8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23"/>
            <a:srcRect/>
            <a:stretch>
              <a:fillRect/>
            </a:stretch>
          </p:blipFill>
          <p:spPr bwMode="auto">
            <a:xfrm>
              <a:off x="5181600" y="5736123"/>
              <a:ext cx="914400" cy="2148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3916" name="Picture 9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24"/>
            <a:srcRect/>
            <a:stretch>
              <a:fillRect/>
            </a:stretch>
          </p:blipFill>
          <p:spPr bwMode="auto">
            <a:xfrm>
              <a:off x="8168148" y="5643519"/>
              <a:ext cx="914400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3917" name="Picture 11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25"/>
            <a:srcRect l="6667" t="42757" r="6667" b="39111"/>
            <a:stretch>
              <a:fillRect/>
            </a:stretch>
          </p:blipFill>
          <p:spPr bwMode="auto">
            <a:xfrm>
              <a:off x="6172200" y="5747972"/>
              <a:ext cx="914400" cy="19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3918" name="Picture 12"/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>
            <a:blip r:embed="rId26"/>
            <a:srcRect/>
            <a:stretch>
              <a:fillRect/>
            </a:stretch>
          </p:blipFill>
          <p:spPr bwMode="auto">
            <a:xfrm>
              <a:off x="7786164" y="6137074"/>
              <a:ext cx="548640" cy="6447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3919" name="Picture 13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27"/>
            <a:srcRect/>
            <a:stretch>
              <a:fillRect/>
            </a:stretch>
          </p:blipFill>
          <p:spPr bwMode="auto">
            <a:xfrm>
              <a:off x="4191000" y="5501148"/>
              <a:ext cx="914400" cy="684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3920" name="Picture 2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28"/>
            <a:srcRect/>
            <a:stretch>
              <a:fillRect/>
            </a:stretch>
          </p:blipFill>
          <p:spPr bwMode="auto">
            <a:xfrm>
              <a:off x="8427720" y="6142374"/>
              <a:ext cx="640080" cy="6394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3921" name="Picture 6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29"/>
            <a:srcRect/>
            <a:stretch>
              <a:fillRect/>
            </a:stretch>
          </p:blipFill>
          <p:spPr bwMode="auto">
            <a:xfrm>
              <a:off x="6831456" y="6066504"/>
              <a:ext cx="822960" cy="822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3922" name="Picture 7"/>
            <p:cNvPicPr>
              <a:picLocks noChangeAspect="1" noChangeArrowheads="1"/>
            </p:cNvPicPr>
            <p:nvPr>
              <p:custDataLst>
                <p:tags r:id="rId15"/>
              </p:custDataLst>
            </p:nvPr>
          </p:nvPicPr>
          <p:blipFill>
            <a:blip r:embed="rId30"/>
            <a:srcRect/>
            <a:stretch>
              <a:fillRect/>
            </a:stretch>
          </p:blipFill>
          <p:spPr bwMode="auto">
            <a:xfrm>
              <a:off x="7162800" y="5670799"/>
              <a:ext cx="914400" cy="3454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010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798513" y="1143000"/>
            <a:ext cx="7583487" cy="4525963"/>
          </a:xfrm>
        </p:spPr>
      </p:pic>
      <p:sp>
        <p:nvSpPr>
          <p:cNvPr id="5" name="Title 4"/>
          <p:cNvSpPr txBox="1">
            <a:spLocks/>
          </p:cNvSpPr>
          <p:nvPr/>
        </p:nvSpPr>
        <p:spPr>
          <a:xfrm>
            <a:off x="107950" y="685800"/>
            <a:ext cx="8883650" cy="685800"/>
          </a:xfrm>
          <a:prstGeom prst="rect">
            <a:avLst/>
          </a:prstGeom>
        </p:spPr>
        <p:txBody>
          <a:bodyPr anchor="ctr">
            <a:normAutofit fontScale="97500" lnSpcReduction="10000"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4400" dirty="0">
                <a:solidFill>
                  <a:schemeClr val="bg1"/>
                </a:solidFill>
                <a:latin typeface="HP Display Beta Regular" pitchFamily="34" charset="0"/>
                <a:ea typeface="+mj-ea"/>
                <a:cs typeface="+mj-cs"/>
              </a:rPr>
              <a:t>HP Indigo WS</a:t>
            </a:r>
            <a:r>
              <a:rPr lang="hr-HR" sz="4400" dirty="0">
                <a:solidFill>
                  <a:schemeClr val="bg1"/>
                </a:solidFill>
                <a:latin typeface="HP Display Beta Regular" pitchFamily="34" charset="0"/>
                <a:ea typeface="+mj-ea"/>
                <a:cs typeface="+mj-cs"/>
              </a:rPr>
              <a:t>6</a:t>
            </a:r>
            <a:r>
              <a:rPr lang="en-US" sz="4400" dirty="0">
                <a:solidFill>
                  <a:schemeClr val="bg1"/>
                </a:solidFill>
                <a:latin typeface="HP Display Beta Regular" pitchFamily="34" charset="0"/>
                <a:ea typeface="+mj-ea"/>
                <a:cs typeface="+mj-cs"/>
              </a:rPr>
              <a:t>600</a:t>
            </a:r>
            <a:endParaRPr lang="en-US" sz="4400" dirty="0">
              <a:solidFill>
                <a:schemeClr val="bg1"/>
              </a:solidFill>
              <a:latin typeface="HP Display Beta Regular" pitchFamily="34" charset="0"/>
              <a:ea typeface="+mj-ea"/>
              <a:cs typeface="+mj-cs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990600" y="1371600"/>
            <a:ext cx="70866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2000">
                <a:solidFill>
                  <a:schemeClr val="bg1"/>
                </a:solidFill>
                <a:latin typeface="Futura"/>
              </a:rPr>
              <a:t>Mogućnost tiska na najrazličitije materijale za etikete, shrink – sleeve, fleksibilnu ambalažu i kartonske kutije.</a:t>
            </a:r>
            <a:endParaRPr lang="en-US" sz="2000">
              <a:solidFill>
                <a:schemeClr val="bg1"/>
              </a:solidFill>
              <a:latin typeface="Futur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033" name="Rectangle 3"/>
          <p:cNvSpPr>
            <a:spLocks noChangeArrowheads="1"/>
          </p:cNvSpPr>
          <p:nvPr/>
        </p:nvSpPr>
        <p:spPr bwMode="auto">
          <a:xfrm>
            <a:off x="533400" y="381000"/>
            <a:ext cx="8462963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3600" b="1">
                <a:solidFill>
                  <a:srgbClr val="000000"/>
                </a:solidFill>
                <a:latin typeface="Futura"/>
              </a:rPr>
              <a:t>HP Indigo WS6600</a:t>
            </a:r>
          </a:p>
          <a:p>
            <a:r>
              <a:rPr lang="hr-HR" sz="2400" b="1">
                <a:solidFill>
                  <a:srgbClr val="000000"/>
                </a:solidFill>
                <a:latin typeface="Futura"/>
              </a:rPr>
              <a:t>Najprodavaniji narrow-web tiskarski stroj</a:t>
            </a:r>
            <a:endParaRPr lang="en-US" sz="2400" b="1">
              <a:solidFill>
                <a:srgbClr val="000000"/>
              </a:solidFill>
              <a:latin typeface="Futura"/>
            </a:endParaRPr>
          </a:p>
        </p:txBody>
      </p:sp>
      <p:sp>
        <p:nvSpPr>
          <p:cNvPr id="172034" name="Rectangle 4"/>
          <p:cNvSpPr>
            <a:spLocks noChangeArrowheads="1"/>
          </p:cNvSpPr>
          <p:nvPr/>
        </p:nvSpPr>
        <p:spPr bwMode="auto">
          <a:xfrm>
            <a:off x="3779838" y="2571750"/>
            <a:ext cx="5113337" cy="221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chemeClr val="tx2"/>
              </a:buClr>
            </a:pPr>
            <a:r>
              <a:rPr lang="hr-HR" sz="2000">
                <a:solidFill>
                  <a:srgbClr val="000000"/>
                </a:solidFill>
                <a:latin typeface="Futura"/>
              </a:rPr>
              <a:t>Preko 280 instalcija, s tržišnim udjelom preko 70% digitalno otisnutih narrow web etiketa</a:t>
            </a:r>
            <a:endParaRPr lang="en-US" sz="2000">
              <a:solidFill>
                <a:srgbClr val="000000"/>
              </a:solidFill>
              <a:latin typeface="Futura"/>
            </a:endParaRPr>
          </a:p>
          <a:p>
            <a:pPr>
              <a:buClr>
                <a:schemeClr val="tx2"/>
              </a:buClr>
            </a:pPr>
            <a:endParaRPr lang="hr-HR" sz="2000">
              <a:solidFill>
                <a:srgbClr val="000000"/>
              </a:solidFill>
              <a:latin typeface="Futura"/>
            </a:endParaRPr>
          </a:p>
          <a:p>
            <a:pPr>
              <a:buClr>
                <a:schemeClr val="tx2"/>
              </a:buClr>
            </a:pPr>
            <a:endParaRPr lang="en-US" sz="2000">
              <a:solidFill>
                <a:srgbClr val="000000"/>
              </a:solidFill>
              <a:latin typeface="Futura"/>
            </a:endParaRPr>
          </a:p>
          <a:p>
            <a:pPr>
              <a:buClr>
                <a:schemeClr val="tx2"/>
              </a:buClr>
            </a:pPr>
            <a:r>
              <a:rPr lang="hr-HR" sz="2000">
                <a:solidFill>
                  <a:srgbClr val="000000"/>
                </a:solidFill>
                <a:latin typeface="Futura"/>
              </a:rPr>
              <a:t>Proizvodi ambalažu za vodeće brendove:</a:t>
            </a:r>
            <a:endParaRPr lang="en-US" sz="2000">
              <a:latin typeface="Futura"/>
            </a:endParaRPr>
          </a:p>
          <a:p>
            <a:endParaRPr lang="en-US">
              <a:solidFill>
                <a:srgbClr val="000000"/>
              </a:solidFill>
              <a:latin typeface="HP Display Beta Regular"/>
            </a:endParaRPr>
          </a:p>
        </p:txBody>
      </p:sp>
      <p:sp>
        <p:nvSpPr>
          <p:cNvPr id="17203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1900238"/>
            <a:ext cx="3240088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1">
                <a:solidFill>
                  <a:srgbClr val="000000"/>
                </a:solidFill>
                <a:latin typeface="Futura"/>
                <a:cs typeface="Arial" charset="0"/>
              </a:rPr>
              <a:t>Leading the Market</a:t>
            </a:r>
          </a:p>
        </p:txBody>
      </p:sp>
      <p:pic>
        <p:nvPicPr>
          <p:cNvPr id="172036" name="Picture 20" descr="http://blogs-images.forbes.com/johnkotter/files/2011/04/Leadership-Pegs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927100" y="2565400"/>
            <a:ext cx="1822450" cy="143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2037" name="Group 7"/>
          <p:cNvGrpSpPr>
            <a:grpSpLocks/>
          </p:cNvGrpSpPr>
          <p:nvPr/>
        </p:nvGrpSpPr>
        <p:grpSpPr bwMode="auto">
          <a:xfrm>
            <a:off x="3994150" y="4648200"/>
            <a:ext cx="4891088" cy="1436688"/>
            <a:chOff x="4191000" y="5501148"/>
            <a:chExt cx="4891548" cy="1437061"/>
          </a:xfrm>
        </p:grpSpPr>
        <p:pic>
          <p:nvPicPr>
            <p:cNvPr id="172038" name="Picture 3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15"/>
            <a:srcRect t="10834"/>
            <a:stretch>
              <a:fillRect/>
            </a:stretch>
          </p:blipFill>
          <p:spPr bwMode="auto">
            <a:xfrm>
              <a:off x="4252452" y="6204156"/>
              <a:ext cx="822960" cy="7340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2039" name="Picture 4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6"/>
            <a:srcRect/>
            <a:stretch>
              <a:fillRect/>
            </a:stretch>
          </p:blipFill>
          <p:spPr bwMode="auto">
            <a:xfrm>
              <a:off x="6113208" y="6190488"/>
              <a:ext cx="640080" cy="6339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2040" name="Picture 5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7"/>
            <a:srcRect/>
            <a:stretch>
              <a:fillRect/>
            </a:stretch>
          </p:blipFill>
          <p:spPr bwMode="auto">
            <a:xfrm>
              <a:off x="5243052" y="6086756"/>
              <a:ext cx="731520" cy="7619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2041" name="Picture 8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8"/>
            <a:srcRect/>
            <a:stretch>
              <a:fillRect/>
            </a:stretch>
          </p:blipFill>
          <p:spPr bwMode="auto">
            <a:xfrm>
              <a:off x="5181600" y="5736123"/>
              <a:ext cx="914400" cy="2148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2042" name="Picture 9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9"/>
            <a:srcRect/>
            <a:stretch>
              <a:fillRect/>
            </a:stretch>
          </p:blipFill>
          <p:spPr bwMode="auto">
            <a:xfrm>
              <a:off x="8168148" y="5643519"/>
              <a:ext cx="914400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2043" name="Picture 11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20"/>
            <a:srcRect l="6667" t="42757" r="6667" b="39111"/>
            <a:stretch>
              <a:fillRect/>
            </a:stretch>
          </p:blipFill>
          <p:spPr bwMode="auto">
            <a:xfrm>
              <a:off x="6172200" y="5747972"/>
              <a:ext cx="914400" cy="19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2044" name="Picture 12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21"/>
            <a:srcRect/>
            <a:stretch>
              <a:fillRect/>
            </a:stretch>
          </p:blipFill>
          <p:spPr bwMode="auto">
            <a:xfrm>
              <a:off x="7786164" y="6137074"/>
              <a:ext cx="548640" cy="6447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2045" name="Picture 13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22"/>
            <a:srcRect/>
            <a:stretch>
              <a:fillRect/>
            </a:stretch>
          </p:blipFill>
          <p:spPr bwMode="auto">
            <a:xfrm>
              <a:off x="4191000" y="5501148"/>
              <a:ext cx="914400" cy="6847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2046" name="Picture 2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23"/>
            <a:srcRect/>
            <a:stretch>
              <a:fillRect/>
            </a:stretch>
          </p:blipFill>
          <p:spPr bwMode="auto">
            <a:xfrm>
              <a:off x="8427720" y="6142374"/>
              <a:ext cx="640080" cy="6394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2047" name="Picture 6"/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>
            <a:blip r:embed="rId24"/>
            <a:srcRect/>
            <a:stretch>
              <a:fillRect/>
            </a:stretch>
          </p:blipFill>
          <p:spPr bwMode="auto">
            <a:xfrm>
              <a:off x="6831456" y="6066504"/>
              <a:ext cx="822960" cy="822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2048" name="Picture 7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25"/>
            <a:srcRect/>
            <a:stretch>
              <a:fillRect/>
            </a:stretch>
          </p:blipFill>
          <p:spPr bwMode="auto">
            <a:xfrm>
              <a:off x="7162800" y="5670799"/>
              <a:ext cx="914400" cy="3454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7" name="Rectangle 3"/>
          <p:cNvSpPr>
            <a:spLocks noChangeArrowheads="1"/>
          </p:cNvSpPr>
          <p:nvPr/>
        </p:nvSpPr>
        <p:spPr bwMode="auto">
          <a:xfrm>
            <a:off x="3036888" y="2565400"/>
            <a:ext cx="5627687" cy="163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chemeClr val="tx2"/>
              </a:buClr>
            </a:pPr>
            <a:r>
              <a:rPr lang="hr-HR" sz="2000">
                <a:latin typeface="HP Display Beta Regular"/>
              </a:rPr>
              <a:t>Brzina tiska četverobojnih poslova od 30 m/min</a:t>
            </a:r>
          </a:p>
          <a:p>
            <a:pPr>
              <a:buClr>
                <a:schemeClr val="tx2"/>
              </a:buClr>
            </a:pPr>
            <a:r>
              <a:rPr lang="en-US" sz="2000">
                <a:latin typeface="Futura Bk"/>
              </a:rPr>
              <a:t>40 m/min </a:t>
            </a:r>
            <a:r>
              <a:rPr lang="hr-HR" sz="2000">
                <a:latin typeface="HP Display Beta Regular"/>
              </a:rPr>
              <a:t>koristeći EPM mode (CMY)</a:t>
            </a:r>
          </a:p>
          <a:p>
            <a:pPr>
              <a:buClr>
                <a:schemeClr val="tx2"/>
              </a:buClr>
            </a:pPr>
            <a:r>
              <a:rPr lang="hr-HR" sz="2000">
                <a:latin typeface="HP Display Beta Regular"/>
              </a:rPr>
              <a:t>60 m/min za 2. boje</a:t>
            </a:r>
          </a:p>
          <a:p>
            <a:pPr>
              <a:buClr>
                <a:schemeClr val="tx2"/>
              </a:buClr>
            </a:pPr>
            <a:endParaRPr lang="en-US" sz="2000">
              <a:latin typeface="Futura Bk"/>
            </a:endParaRPr>
          </a:p>
          <a:p>
            <a:r>
              <a:rPr lang="hr-HR" sz="2000">
                <a:solidFill>
                  <a:srgbClr val="000000"/>
                </a:solidFill>
                <a:latin typeface="HP Display Beta Regular"/>
              </a:rPr>
              <a:t>Smanjenje troška po etiketi do 20%</a:t>
            </a:r>
          </a:p>
        </p:txBody>
      </p:sp>
      <p:sp>
        <p:nvSpPr>
          <p:cNvPr id="173058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5900" y="1603375"/>
            <a:ext cx="28321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r-HR" sz="2800" b="1">
                <a:solidFill>
                  <a:srgbClr val="000000"/>
                </a:solidFill>
                <a:latin typeface="HP Display Beta Regular"/>
                <a:cs typeface="Arial" charset="0"/>
              </a:rPr>
              <a:t>Produktivnost</a:t>
            </a:r>
            <a:endParaRPr lang="en-US" sz="2800" b="1">
              <a:solidFill>
                <a:srgbClr val="000000"/>
              </a:solidFill>
              <a:latin typeface="HP Display Beta Regular"/>
              <a:cs typeface="Arial" charset="0"/>
            </a:endParaRPr>
          </a:p>
        </p:txBody>
      </p:sp>
      <p:pic>
        <p:nvPicPr>
          <p:cNvPr id="173059" name="Picture 34" descr="http://img.diytrade.com/cdimg/110992/10382225/0/1252396808/Mineral_Water_Filling_Line_Machine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1813" y="2590800"/>
            <a:ext cx="2162175" cy="162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1" name="Rectangle 3"/>
          <p:cNvSpPr>
            <a:spLocks noChangeArrowheads="1"/>
          </p:cNvSpPr>
          <p:nvPr/>
        </p:nvSpPr>
        <p:spPr bwMode="auto">
          <a:xfrm>
            <a:off x="3779838" y="1747838"/>
            <a:ext cx="52165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400" b="1">
                <a:solidFill>
                  <a:srgbClr val="000000"/>
                </a:solidFill>
                <a:latin typeface="Futura"/>
              </a:rPr>
              <a:t>HP Indigo WS6600</a:t>
            </a:r>
          </a:p>
        </p:txBody>
      </p:sp>
      <p:sp>
        <p:nvSpPr>
          <p:cNvPr id="174082" name="Rectangle 4"/>
          <p:cNvSpPr>
            <a:spLocks noChangeArrowheads="1"/>
          </p:cNvSpPr>
          <p:nvPr/>
        </p:nvSpPr>
        <p:spPr bwMode="auto">
          <a:xfrm>
            <a:off x="3779838" y="2349500"/>
            <a:ext cx="5113337" cy="286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>
                <a:solidFill>
                  <a:srgbClr val="000000"/>
                </a:solidFill>
                <a:latin typeface="HP Display Beta Regular"/>
              </a:rPr>
              <a:t>Tisak na materijale od </a:t>
            </a:r>
            <a:r>
              <a:rPr lang="en-US">
                <a:solidFill>
                  <a:srgbClr val="000000"/>
                </a:solidFill>
                <a:latin typeface="HP Display Beta Regular"/>
              </a:rPr>
              <a:t>12 to 450µ</a:t>
            </a:r>
            <a:r>
              <a:rPr lang="hr-HR">
                <a:solidFill>
                  <a:srgbClr val="000000"/>
                </a:solidFill>
                <a:latin typeface="HP Display Beta Regular"/>
              </a:rPr>
              <a:t> folije, papiri, kartoni, metalizirani materijali</a:t>
            </a:r>
            <a:endParaRPr lang="en-US">
              <a:solidFill>
                <a:srgbClr val="000000"/>
              </a:solidFill>
              <a:latin typeface="HP Display Beta Regular"/>
            </a:endParaRPr>
          </a:p>
          <a:p>
            <a:endParaRPr lang="en-US">
              <a:solidFill>
                <a:srgbClr val="000000"/>
              </a:solidFill>
              <a:latin typeface="HP Display Beta Regular"/>
            </a:endParaRPr>
          </a:p>
          <a:p>
            <a:r>
              <a:rPr lang="hr-HR">
                <a:solidFill>
                  <a:srgbClr val="000000"/>
                </a:solidFill>
                <a:latin typeface="HP Display Beta Regular"/>
              </a:rPr>
              <a:t>Tisak samoljepljivih i wrap around etiketa, shrink sleeve, fleksibilne i kartonske (farmacija) ambalaže.</a:t>
            </a:r>
            <a:endParaRPr lang="en-US">
              <a:solidFill>
                <a:srgbClr val="000000"/>
              </a:solidFill>
              <a:latin typeface="HP Display Beta Regular"/>
            </a:endParaRPr>
          </a:p>
          <a:p>
            <a:endParaRPr lang="en-US">
              <a:solidFill>
                <a:srgbClr val="000000"/>
              </a:solidFill>
              <a:latin typeface="HP Display Beta Regular"/>
            </a:endParaRPr>
          </a:p>
          <a:p>
            <a:r>
              <a:rPr lang="hr-HR">
                <a:latin typeface="HP Display Beta Regular"/>
              </a:rPr>
              <a:t>Jedinica za </a:t>
            </a:r>
            <a:r>
              <a:rPr lang="en-US">
                <a:latin typeface="HP Display Beta Regular"/>
              </a:rPr>
              <a:t>Inline </a:t>
            </a:r>
            <a:r>
              <a:rPr lang="hr-HR">
                <a:latin typeface="HP Display Beta Regular"/>
              </a:rPr>
              <a:t>prajmeriranje omogućava tisak na standardnim materijalima.</a:t>
            </a:r>
            <a:endParaRPr lang="en-US">
              <a:latin typeface="HP Display Beta Regular"/>
            </a:endParaRPr>
          </a:p>
          <a:p>
            <a:endParaRPr lang="en-US">
              <a:latin typeface="HP Display Beta Regular"/>
            </a:endParaRPr>
          </a:p>
        </p:txBody>
      </p:sp>
      <p:sp>
        <p:nvSpPr>
          <p:cNvPr id="174083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7488" y="1720850"/>
            <a:ext cx="3240087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r-HR" sz="2400" b="1">
                <a:solidFill>
                  <a:srgbClr val="000000"/>
                </a:solidFill>
                <a:latin typeface="Futura"/>
                <a:cs typeface="Arial" charset="0"/>
              </a:rPr>
              <a:t>Svestranost</a:t>
            </a:r>
            <a:endParaRPr lang="en-US" sz="2400" b="1">
              <a:latin typeface="Futura"/>
              <a:cs typeface="Arial" charset="0"/>
            </a:endParaRPr>
          </a:p>
        </p:txBody>
      </p:sp>
      <p:pic>
        <p:nvPicPr>
          <p:cNvPr id="174084" name="Picture 10" descr="shrink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76300" y="2925763"/>
            <a:ext cx="1924050" cy="143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0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50" name="think-cell Slide" r:id="rId6" imgW="360" imgH="360" progId="">
              <p:embed/>
            </p:oleObj>
          </a:graphicData>
        </a:graphic>
      </p:graphicFrame>
      <p:pic>
        <p:nvPicPr>
          <p:cNvPr id="130051" name="Picture 6" descr="http://zentx.files.wordpress.com/2010/11/cmyk_rgb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200025" y="2566988"/>
            <a:ext cx="3276600" cy="151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0052" name="Rectangle 2"/>
          <p:cNvSpPr>
            <a:spLocks noChangeArrowheads="1"/>
          </p:cNvSpPr>
          <p:nvPr/>
        </p:nvSpPr>
        <p:spPr bwMode="auto">
          <a:xfrm>
            <a:off x="3779838" y="476250"/>
            <a:ext cx="507365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en-US" sz="3600" b="1">
                <a:solidFill>
                  <a:srgbClr val="000000"/>
                </a:solidFill>
                <a:latin typeface="Futura"/>
              </a:rPr>
              <a:t>HP Indigo</a:t>
            </a:r>
            <a:endParaRPr lang="hr-HR" sz="3600" b="1">
              <a:solidFill>
                <a:srgbClr val="000000"/>
              </a:solidFill>
              <a:latin typeface="Futura"/>
            </a:endParaRPr>
          </a:p>
          <a:p>
            <a:pPr defTabSz="457200"/>
            <a:r>
              <a:rPr lang="hr-HR" sz="2400" b="1">
                <a:solidFill>
                  <a:srgbClr val="000000"/>
                </a:solidFill>
                <a:latin typeface="Futura"/>
              </a:rPr>
              <a:t>superiorna kvaliteta</a:t>
            </a:r>
            <a:endParaRPr lang="en-US" sz="2400" b="1">
              <a:solidFill>
                <a:srgbClr val="000000"/>
              </a:solidFill>
              <a:latin typeface="Futura"/>
            </a:endParaRPr>
          </a:p>
        </p:txBody>
      </p:sp>
      <p:sp>
        <p:nvSpPr>
          <p:cNvPr id="130053" name="Rectangle 5"/>
          <p:cNvSpPr>
            <a:spLocks noChangeArrowheads="1"/>
          </p:cNvSpPr>
          <p:nvPr/>
        </p:nvSpPr>
        <p:spPr bwMode="auto">
          <a:xfrm>
            <a:off x="3779838" y="2057400"/>
            <a:ext cx="5113337" cy="397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en-US">
                <a:solidFill>
                  <a:srgbClr val="000000"/>
                </a:solidFill>
                <a:latin typeface="HP Display Beta Regular"/>
              </a:rPr>
              <a:t>ElectroInk </a:t>
            </a:r>
            <a:r>
              <a:rPr lang="hr-HR">
                <a:solidFill>
                  <a:srgbClr val="000000"/>
                </a:solidFill>
                <a:latin typeface="HP Display Beta Regular"/>
              </a:rPr>
              <a:t>i sam</a:t>
            </a:r>
            <a:r>
              <a:rPr lang="en-US">
                <a:solidFill>
                  <a:srgbClr val="000000"/>
                </a:solidFill>
                <a:latin typeface="HP Display Beta Regular"/>
              </a:rPr>
              <a:t> Indigo </a:t>
            </a:r>
            <a:r>
              <a:rPr lang="hr-HR">
                <a:solidFill>
                  <a:srgbClr val="000000"/>
                </a:solidFill>
                <a:latin typeface="HP Display Beta Regular"/>
              </a:rPr>
              <a:t>proces omogućavaju tisak jasnih linija, glatkih vinjeta i atraktivnih slika</a:t>
            </a:r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r>
              <a:rPr lang="hr-HR">
                <a:solidFill>
                  <a:srgbClr val="000000"/>
                </a:solidFill>
                <a:latin typeface="HP Display Beta Regular"/>
              </a:rPr>
              <a:t>Vrlo tanak sloj boje na podlozi</a:t>
            </a:r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r>
              <a:rPr lang="hr-HR">
                <a:solidFill>
                  <a:srgbClr val="000000"/>
                </a:solidFill>
                <a:latin typeface="HP Display Beta Regular"/>
              </a:rPr>
              <a:t>Do 7 kolornih modula, </a:t>
            </a:r>
            <a:r>
              <a:rPr lang="en-US">
                <a:solidFill>
                  <a:srgbClr val="000000"/>
                </a:solidFill>
                <a:latin typeface="HP Display Beta Regular"/>
              </a:rPr>
              <a:t>Up to 7 ink stations, </a:t>
            </a:r>
            <a:r>
              <a:rPr lang="hr-HR">
                <a:solidFill>
                  <a:srgbClr val="000000"/>
                </a:solidFill>
                <a:latin typeface="HP Display Beta Regular"/>
              </a:rPr>
              <a:t>prošireni kolor gamut, ElectroInk bijela (White Plus) i ostale posebne boje</a:t>
            </a:r>
          </a:p>
          <a:p>
            <a:pPr defTabSz="457200"/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r>
              <a:rPr lang="hr-HR">
                <a:solidFill>
                  <a:srgbClr val="000000"/>
                </a:solidFill>
                <a:latin typeface="HP Display Beta Regular"/>
              </a:rPr>
              <a:t>Tisak sa </a:t>
            </a:r>
            <a:r>
              <a:rPr lang="en-US">
                <a:solidFill>
                  <a:srgbClr val="000000"/>
                </a:solidFill>
                <a:latin typeface="HP Display Beta Regular"/>
              </a:rPr>
              <a:t>4-, 6- </a:t>
            </a:r>
            <a:r>
              <a:rPr lang="hr-HR">
                <a:solidFill>
                  <a:srgbClr val="000000"/>
                </a:solidFill>
                <a:latin typeface="HP Display Beta Regular"/>
              </a:rPr>
              <a:t>ili</a:t>
            </a:r>
            <a:r>
              <a:rPr lang="en-US">
                <a:solidFill>
                  <a:srgbClr val="000000"/>
                </a:solidFill>
                <a:latin typeface="HP Display Beta Regular"/>
              </a:rPr>
              <a:t> 7-</a:t>
            </a:r>
            <a:r>
              <a:rPr lang="hr-HR">
                <a:solidFill>
                  <a:srgbClr val="000000"/>
                </a:solidFill>
                <a:latin typeface="HP Display Beta Regular"/>
              </a:rPr>
              <a:t> procesnih boja za tisak prezinih Pantone emulacija</a:t>
            </a:r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r>
              <a:rPr lang="hr-HR">
                <a:solidFill>
                  <a:srgbClr val="000000"/>
                </a:solidFill>
                <a:latin typeface="HP Display Beta Regular"/>
              </a:rPr>
              <a:t>Spot boje, miješanje u Ink Mixing Stationa, Pantone certificirane boje</a:t>
            </a:r>
            <a:endParaRPr lang="en-US">
              <a:solidFill>
                <a:srgbClr val="000000"/>
              </a:solidFill>
              <a:latin typeface="HP Display Beta Regular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name="think-cell Slide" r:id="rId7" imgW="360" imgH="360" progId="">
              <p:embed/>
            </p:oleObj>
          </a:graphicData>
        </a:graphic>
      </p:graphicFrame>
      <p:sp>
        <p:nvSpPr>
          <p:cNvPr id="2051" name="Rectangle 2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9075" y="1701800"/>
            <a:ext cx="3240088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r-HR" sz="2800" b="1">
                <a:solidFill>
                  <a:srgbClr val="000000"/>
                </a:solidFill>
                <a:latin typeface="HP Display Beta Regular"/>
                <a:cs typeface="Arial" charset="0"/>
              </a:rPr>
              <a:t>Održivost</a:t>
            </a:r>
            <a:endParaRPr lang="en-US" sz="2800" b="1">
              <a:solidFill>
                <a:srgbClr val="000000"/>
              </a:solidFill>
              <a:latin typeface="HP Display Beta Regular"/>
              <a:cs typeface="Arial" charset="0"/>
            </a:endParaRPr>
          </a:p>
        </p:txBody>
      </p:sp>
      <p:sp>
        <p:nvSpPr>
          <p:cNvPr id="2052" name="Rectangle 2"/>
          <p:cNvSpPr>
            <a:spLocks noChangeArrowheads="1"/>
          </p:cNvSpPr>
          <p:nvPr/>
        </p:nvSpPr>
        <p:spPr bwMode="auto">
          <a:xfrm>
            <a:off x="3635375" y="412750"/>
            <a:ext cx="5437188" cy="101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3600" b="1">
                <a:solidFill>
                  <a:srgbClr val="000000"/>
                </a:solidFill>
                <a:latin typeface="Futura"/>
              </a:rPr>
              <a:t>HP Indigo WS6600</a:t>
            </a:r>
            <a:endParaRPr lang="hr-HR" sz="3600" b="1">
              <a:solidFill>
                <a:srgbClr val="000000"/>
              </a:solidFill>
              <a:latin typeface="Futura"/>
            </a:endParaRPr>
          </a:p>
          <a:p>
            <a:r>
              <a:rPr lang="hr-HR" sz="2400">
                <a:solidFill>
                  <a:srgbClr val="000000"/>
                </a:solidFill>
                <a:latin typeface="Futura"/>
              </a:rPr>
              <a:t>Smanjenje otpada</a:t>
            </a:r>
            <a:endParaRPr lang="en-US" sz="2400">
              <a:solidFill>
                <a:srgbClr val="000000"/>
              </a:solidFill>
              <a:latin typeface="Futura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635375" y="1773238"/>
            <a:ext cx="5329238" cy="313848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dirty="0">
                <a:solidFill>
                  <a:srgbClr val="000000"/>
                </a:solidFill>
                <a:latin typeface="HP Display Beta Regular" pitchFamily="34" charset="0"/>
              </a:rPr>
              <a:t>Značajno smanjenje otpada prilikom pripreme stroja uspoređujući s analognim strojevima</a:t>
            </a:r>
            <a:endParaRPr lang="en-US" dirty="0">
              <a:solidFill>
                <a:srgbClr val="000000"/>
              </a:solidFill>
              <a:latin typeface="HP Display Beta Regular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HP Display Beta Regular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HP Display Beta Regular" pitchFamily="34" charset="0"/>
              </a:rPr>
              <a:t>Just In Time </a:t>
            </a:r>
            <a:r>
              <a:rPr lang="hr-HR" dirty="0">
                <a:solidFill>
                  <a:srgbClr val="000000"/>
                </a:solidFill>
                <a:latin typeface="HP Display Beta Regular" pitchFamily="34" charset="0"/>
              </a:rPr>
              <a:t>proizvodnja dovodi do</a:t>
            </a:r>
            <a:r>
              <a:rPr lang="en-US" dirty="0">
                <a:solidFill>
                  <a:srgbClr val="000000"/>
                </a:solidFill>
                <a:latin typeface="HP Display Beta Regular" pitchFamily="34" charset="0"/>
              </a:rPr>
              <a:t>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HP Display Beta Regular" pitchFamily="34" charset="0"/>
            </a:endParaRPr>
          </a:p>
          <a:p>
            <a:pPr marL="441325" indent="-258763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hr-HR" dirty="0">
                <a:solidFill>
                  <a:srgbClr val="000000"/>
                </a:solidFill>
                <a:latin typeface="HP Display Beta Regular" pitchFamily="34" charset="0"/>
              </a:rPr>
              <a:t>Učinkovitijeg lanaca opskrbe</a:t>
            </a:r>
            <a:endParaRPr lang="en-US" dirty="0">
              <a:solidFill>
                <a:srgbClr val="000000"/>
              </a:solidFill>
              <a:latin typeface="HP Display Beta Regular" pitchFamily="34" charset="0"/>
            </a:endParaRPr>
          </a:p>
          <a:p>
            <a:pPr marL="441325" indent="-258763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  <a:latin typeface="HP Display Beta Regular" pitchFamily="34" charset="0"/>
              </a:rPr>
              <a:t>N</a:t>
            </a:r>
            <a:r>
              <a:rPr lang="hr-HR" dirty="0">
                <a:solidFill>
                  <a:srgbClr val="000000"/>
                </a:solidFill>
                <a:latin typeface="HP Display Beta Regular" pitchFamily="34" charset="0"/>
              </a:rPr>
              <a:t>ema zastarjevanja (otpisa) za krajnje korisnike</a:t>
            </a:r>
            <a:endParaRPr lang="en-US" dirty="0">
              <a:solidFill>
                <a:srgbClr val="000000"/>
              </a:solidFill>
              <a:latin typeface="HP Display Beta Regular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HP Display Beta Regular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solidFill>
                  <a:srgbClr val="000000"/>
                </a:solidFill>
                <a:latin typeface="HP Display Beta Regular" pitchFamily="34" charset="0"/>
              </a:rPr>
              <a:t>Intertek</a:t>
            </a:r>
            <a:r>
              <a:rPr lang="en-US" dirty="0">
                <a:solidFill>
                  <a:srgbClr val="000000"/>
                </a:solidFill>
                <a:latin typeface="HP Display Beta Regular" pitchFamily="34" charset="0"/>
              </a:rPr>
              <a:t> </a:t>
            </a:r>
            <a:r>
              <a:rPr lang="en-US" dirty="0">
                <a:solidFill>
                  <a:srgbClr val="000000"/>
                </a:solidFill>
                <a:latin typeface="HP Display Beta Regular" pitchFamily="34" charset="0"/>
              </a:rPr>
              <a:t>Green leaf </a:t>
            </a:r>
            <a:r>
              <a:rPr lang="hr-HR" dirty="0">
                <a:solidFill>
                  <a:srgbClr val="000000"/>
                </a:solidFill>
                <a:latin typeface="HP Display Beta Regular" pitchFamily="34" charset="0"/>
              </a:rPr>
              <a:t>certifikat</a:t>
            </a:r>
            <a:endParaRPr lang="en-US" dirty="0">
              <a:solidFill>
                <a:srgbClr val="000000"/>
              </a:solidFill>
              <a:latin typeface="HP Display Beta Regular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HP Display Beta Regular" pitchFamily="34" charset="0"/>
            </a:endParaRPr>
          </a:p>
        </p:txBody>
      </p:sp>
      <p:pic>
        <p:nvPicPr>
          <p:cNvPr id="2054" name="Picture 16" descr="D:\HP 2012\hp indigo\תיקיה חדשה (3)\ICONS_b-36.jp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1109663" y="2420938"/>
            <a:ext cx="1458912" cy="143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5" name="Picture 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535488" y="4724400"/>
            <a:ext cx="3529012" cy="1239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6450" y="115888"/>
            <a:ext cx="8229600" cy="922337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latin typeface="HP Display Beta Regular" pitchFamily="34" charset="0"/>
              </a:rPr>
              <a:t>HP Indigo WS6600 Digital Press</a:t>
            </a:r>
            <a:br>
              <a:rPr lang="en-US" dirty="0" smtClean="0">
                <a:latin typeface="HP Display Beta Regular" pitchFamily="34" charset="0"/>
              </a:rPr>
            </a:br>
            <a:r>
              <a:rPr lang="en-US" sz="2800" dirty="0" smtClean="0">
                <a:latin typeface="HP Display Beta Light" pitchFamily="34" charset="0"/>
              </a:rPr>
              <a:t>High Level Technical Spec</a:t>
            </a:r>
            <a:endParaRPr lang="en-US" sz="2800" dirty="0">
              <a:latin typeface="HP Display Beta Light" pitchFamily="34" charset="0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539750" y="1557338"/>
          <a:ext cx="8424863" cy="47244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872208"/>
                <a:gridCol w="6552728"/>
              </a:tblGrid>
              <a:tr h="504056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HP Display Beta Regular" pitchFamily="34" charset="0"/>
                        </a:rPr>
                        <a:t>Element</a:t>
                      </a:r>
                      <a:r>
                        <a:rPr lang="en-US" sz="1600" baseline="0" dirty="0" smtClean="0">
                          <a:latin typeface="HP Display Beta Regular" pitchFamily="34" charset="0"/>
                        </a:rPr>
                        <a:t> </a:t>
                      </a:r>
                      <a:endParaRPr lang="en-US" sz="1600" dirty="0">
                        <a:latin typeface="HP Display Beta Regular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HP Display Beta Regular" pitchFamily="34" charset="0"/>
                        </a:rPr>
                        <a:t>Technical Specification </a:t>
                      </a:r>
                      <a:endParaRPr lang="en-US" sz="1600" dirty="0">
                        <a:latin typeface="HP Display Beta Regular" pitchFamily="34" charset="0"/>
                      </a:endParaRPr>
                    </a:p>
                  </a:txBody>
                  <a:tcPr anchor="ctr"/>
                </a:tc>
              </a:tr>
              <a:tr h="1008112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HP Display Beta Regular" pitchFamily="34" charset="0"/>
                        </a:rPr>
                        <a:t>Printing Speed</a:t>
                      </a:r>
                      <a:endParaRPr lang="en-US" sz="1600" dirty="0">
                        <a:latin typeface="HP Display Beta Regular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kern="1200" dirty="0" smtClean="0">
                          <a:effectLst/>
                          <a:latin typeface="HP Display Beta Regular" pitchFamily="34" charset="0"/>
                        </a:rPr>
                        <a:t>98 feet / 30 meters per minute in 4-color mode</a:t>
                      </a:r>
                    </a:p>
                    <a:p>
                      <a:r>
                        <a:rPr lang="en-US" sz="1400" kern="1200" dirty="0" smtClean="0">
                          <a:effectLst/>
                          <a:latin typeface="HP Display Beta Regular" pitchFamily="34" charset="0"/>
                        </a:rPr>
                        <a:t>131 feet / 40 meters per minute in Enhanced Productivity Mode</a:t>
                      </a:r>
                    </a:p>
                    <a:p>
                      <a:r>
                        <a:rPr lang="en-US" sz="1400" kern="1200" dirty="0" smtClean="0">
                          <a:effectLst/>
                          <a:latin typeface="HP Display Beta Regular" pitchFamily="34" charset="0"/>
                        </a:rPr>
                        <a:t>196 feet / 60 meters per minute in 2-color mode</a:t>
                      </a:r>
                      <a:endParaRPr lang="en-US" sz="1400" dirty="0">
                        <a:latin typeface="HP Display Beta Regular" pitchFamily="34" charset="0"/>
                      </a:endParaRPr>
                    </a:p>
                  </a:txBody>
                  <a:tcPr anchor="ctr"/>
                </a:tc>
              </a:tr>
              <a:tr h="504056">
                <a:tc>
                  <a:txBody>
                    <a:bodyPr/>
                    <a:lstStyle/>
                    <a:p>
                      <a:pPr algn="just">
                        <a:lnSpc>
                          <a:spcPts val="1800"/>
                        </a:lnSpc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600" dirty="0">
                          <a:effectLst/>
                          <a:latin typeface="HP Display Beta Regular" pitchFamily="34" charset="0"/>
                        </a:rPr>
                        <a:t>Web width 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800"/>
                        </a:lnSpc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400" dirty="0" smtClean="0">
                          <a:effectLst/>
                          <a:latin typeface="HP Display Beta Regular" pitchFamily="34" charset="0"/>
                        </a:rPr>
                        <a:t>7.87</a:t>
                      </a:r>
                      <a:r>
                        <a:rPr lang="en-US" sz="1400" baseline="0" dirty="0" smtClean="0">
                          <a:effectLst/>
                          <a:latin typeface="HP Display Beta Regular" pitchFamily="34" charset="0"/>
                        </a:rPr>
                        <a:t> – 13.39” / 200 – 340 mm</a:t>
                      </a:r>
                      <a:endParaRPr lang="en-US" sz="1400" dirty="0">
                        <a:effectLst/>
                        <a:latin typeface="HP Display Beta Regular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76064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HP Display Beta Regular" pitchFamily="34" charset="0"/>
                        </a:rPr>
                        <a:t>Image format</a:t>
                      </a:r>
                      <a:endParaRPr lang="en-US" sz="1600" dirty="0">
                        <a:latin typeface="HP Display Beta Regular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HP Display Beta Regular" pitchFamily="34" charset="0"/>
                        </a:rPr>
                        <a:t>12.48" x 38.58"  / 317 mm x 980 mm</a:t>
                      </a:r>
                    </a:p>
                  </a:txBody>
                  <a:tcPr anchor="ctr"/>
                </a:tc>
              </a:tr>
              <a:tr h="533822">
                <a:tc>
                  <a:txBody>
                    <a:bodyPr/>
                    <a:lstStyle/>
                    <a:p>
                      <a:pPr algn="just">
                        <a:lnSpc>
                          <a:spcPts val="1800"/>
                        </a:lnSpc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600" kern="1200" dirty="0">
                          <a:latin typeface="HP Display Beta Regular" pitchFamily="34" charset="0"/>
                        </a:rPr>
                        <a:t>Substrate thickness 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HP Display Beta Regular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800"/>
                        </a:lnSpc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400" kern="1200" dirty="0">
                          <a:latin typeface="HP Display Beta Regular" pitchFamily="34" charset="0"/>
                        </a:rPr>
                        <a:t>12-450 micron (0.47-17.6 mils)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HP Display Beta Regular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533822">
                <a:tc>
                  <a:txBody>
                    <a:bodyPr/>
                    <a:lstStyle/>
                    <a:p>
                      <a:pPr algn="just">
                        <a:lnSpc>
                          <a:spcPts val="1800"/>
                        </a:lnSpc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600" kern="1200" dirty="0">
                          <a:latin typeface="HP Display Beta Regular" pitchFamily="34" charset="0"/>
                        </a:rPr>
                        <a:t>Substrate type 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HP Display Beta Regular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800"/>
                        </a:lnSpc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400" kern="1200" dirty="0">
                          <a:latin typeface="HP Display Beta Regular" pitchFamily="34" charset="0"/>
                        </a:rPr>
                        <a:t>Self-adhesive label stock, films, and folding cartons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HP Display Beta Regular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1065465">
                <a:tc>
                  <a:txBody>
                    <a:bodyPr/>
                    <a:lstStyle/>
                    <a:p>
                      <a:pPr algn="just">
                        <a:lnSpc>
                          <a:spcPts val="1800"/>
                        </a:lnSpc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1600" kern="1200" dirty="0" smtClean="0">
                          <a:latin typeface="HP Display Beta Regular" pitchFamily="34" charset="0"/>
                        </a:rPr>
                        <a:t>Supported colors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HP Display Beta Regular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effectLst/>
                          <a:latin typeface="HP Display Beta Regular" pitchFamily="34" charset="0"/>
                        </a:rPr>
                        <a:t>CMYK </a:t>
                      </a:r>
                    </a:p>
                    <a:p>
                      <a:r>
                        <a:rPr lang="en-US" sz="1400" dirty="0" smtClean="0">
                          <a:effectLst/>
                          <a:latin typeface="HP Display Beta Regular" pitchFamily="34" charset="0"/>
                        </a:rPr>
                        <a:t>HP IndiChrome 6- and 7-color printing adding Orange, Violet and Green </a:t>
                      </a:r>
                    </a:p>
                    <a:p>
                      <a:r>
                        <a:rPr lang="en-US" sz="1400" dirty="0" smtClean="0">
                          <a:effectLst/>
                          <a:latin typeface="HP Display Beta Regular" pitchFamily="34" charset="0"/>
                        </a:rPr>
                        <a:t>HP IndiChrome off-press for spot/brand color matching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effectLst/>
                          <a:latin typeface="HP Display Beta Regular" pitchFamily="34" charset="0"/>
                        </a:rPr>
                        <a:t>HP ElectroInk White</a:t>
                      </a:r>
                      <a:r>
                        <a:rPr lang="en-US" sz="1400" baseline="0" dirty="0" smtClean="0">
                          <a:effectLst/>
                          <a:latin typeface="HP Display Beta Regular" pitchFamily="34" charset="0"/>
                        </a:rPr>
                        <a:t> Plus</a:t>
                      </a:r>
                      <a:endParaRPr lang="en-US" sz="1400" dirty="0" smtClean="0">
                        <a:effectLst/>
                        <a:latin typeface="HP Display Beta Regular" pitchFamily="34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28613" y="257175"/>
            <a:ext cx="7223125" cy="2674938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HP Indigo 20000 Digital Pres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72200" y="1600200"/>
            <a:ext cx="2784475" cy="646113"/>
          </a:xfrm>
          <a:prstGeom prst="rect">
            <a:avLst/>
          </a:prstGeom>
          <a:solidFill>
            <a:srgbClr val="CCFF66"/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kern="0" dirty="0">
                <a:solidFill>
                  <a:sysClr val="windowText" lastClr="000000"/>
                </a:solidFill>
                <a:latin typeface="+mn-lt"/>
              </a:rPr>
              <a:t>Premijera na</a:t>
            </a:r>
            <a:r>
              <a:rPr lang="en-US" kern="0" dirty="0">
                <a:solidFill>
                  <a:sysClr val="windowText" lastClr="000000"/>
                </a:solidFill>
                <a:latin typeface="+mn-lt"/>
              </a:rPr>
              <a:t> </a:t>
            </a:r>
            <a:r>
              <a:rPr lang="en-US" kern="0" dirty="0" err="1">
                <a:solidFill>
                  <a:sysClr val="windowText" lastClr="000000"/>
                </a:solidFill>
                <a:latin typeface="+mn-lt"/>
              </a:rPr>
              <a:t>Drupa</a:t>
            </a:r>
            <a:r>
              <a:rPr lang="hr-HR" kern="0" dirty="0">
                <a:solidFill>
                  <a:sysClr val="windowText" lastClr="000000"/>
                </a:solidFill>
                <a:latin typeface="+mn-lt"/>
              </a:rPr>
              <a:t> 2012</a:t>
            </a:r>
            <a:endParaRPr lang="en-US" kern="0" dirty="0">
              <a:solidFill>
                <a:sysClr val="windowText" lastClr="000000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kern="0" dirty="0">
                <a:solidFill>
                  <a:sysClr val="windowText" lastClr="000000"/>
                </a:solidFill>
                <a:latin typeface="+mn-lt"/>
              </a:rPr>
              <a:t>Očekivana prodaja </a:t>
            </a:r>
            <a:r>
              <a:rPr lang="en-US" kern="0" dirty="0">
                <a:solidFill>
                  <a:sysClr val="windowText" lastClr="000000"/>
                </a:solidFill>
                <a:latin typeface="+mn-lt"/>
              </a:rPr>
              <a:t>2014</a:t>
            </a:r>
            <a:endParaRPr lang="en-US" kern="0" dirty="0">
              <a:solidFill>
                <a:sysClr val="windowText" lastClr="000000"/>
              </a:solidFill>
              <a:latin typeface="+mn-lt"/>
            </a:endParaRPr>
          </a:p>
        </p:txBody>
      </p:sp>
      <p:pic>
        <p:nvPicPr>
          <p:cNvPr id="183300" name="Picture 2" descr="C:\Users\vaks\AppData\Local\Microsoft\Windows\Temporary Internet Files\Content.Outlook\YOIW1S3H\20000.jp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1300" y="2057400"/>
            <a:ext cx="9134475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BD524F-2597-4982-97A5-13641B41C2F3}" type="slidenum">
              <a:rPr lang="en-US"/>
              <a:pPr>
                <a:defRPr/>
              </a:pPr>
              <a:t>39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76263" y="73025"/>
            <a:ext cx="8567737" cy="590550"/>
          </a:xfrm>
        </p:spPr>
        <p:txBody>
          <a:bodyPr rtlCol="0" anchor="t">
            <a:sp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600" dirty="0">
                <a:solidFill>
                  <a:prstClr val="black"/>
                </a:solidFill>
                <a:latin typeface="HP Display Beta Regular" pitchFamily="34" charset="0"/>
                <a:ea typeface="+mn-ea"/>
                <a:cs typeface="Arial" pitchFamily="34" charset="0"/>
              </a:rPr>
              <a:t>HP Indigo 20000 Digital Press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762000" y="1143000"/>
          <a:ext cx="7696200" cy="15240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82700"/>
                <a:gridCol w="1282700"/>
                <a:gridCol w="1282700"/>
                <a:gridCol w="1282700"/>
                <a:gridCol w="1282700"/>
                <a:gridCol w="1282700"/>
              </a:tblGrid>
              <a:tr h="360673">
                <a:tc>
                  <a:txBody>
                    <a:bodyPr/>
                    <a:lstStyle/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Image Format</a:t>
                      </a:r>
                      <a:endParaRPr lang="en-US" sz="1100" dirty="0">
                        <a:latin typeface="HP Display Beta Regular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Throughput meters/minute</a:t>
                      </a:r>
                      <a:endParaRPr lang="en-US" sz="1100" dirty="0">
                        <a:latin typeface="HP Display Beta Regular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Media gamut</a:t>
                      </a:r>
                      <a:endParaRPr lang="en-US" sz="1100" dirty="0">
                        <a:latin typeface="HP Display Beta Regular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Material types</a:t>
                      </a:r>
                      <a:endParaRPr lang="en-US" sz="1100" dirty="0">
                        <a:latin typeface="HP Display Beta Regular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Colors</a:t>
                      </a:r>
                      <a:endParaRPr lang="en-US" sz="1100" dirty="0">
                        <a:latin typeface="HP Display Beta Regular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Application range</a:t>
                      </a:r>
                      <a:endParaRPr lang="en-US" sz="1100" dirty="0">
                        <a:latin typeface="HP Display Beta Regular" pitchFamily="34" charset="0"/>
                      </a:endParaRPr>
                    </a:p>
                  </a:txBody>
                  <a:tcPr/>
                </a:tc>
              </a:tr>
              <a:tr h="706127">
                <a:tc>
                  <a:txBody>
                    <a:bodyPr/>
                    <a:lstStyle/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736</a:t>
                      </a:r>
                      <a:r>
                        <a:rPr lang="en-US" sz="1100" baseline="0" dirty="0" smtClean="0">
                          <a:latin typeface="HP Display Beta Regular" pitchFamily="34" charset="0"/>
                        </a:rPr>
                        <a:t> x</a:t>
                      </a:r>
                      <a:r>
                        <a:rPr lang="en-US" sz="1100" dirty="0" smtClean="0">
                          <a:latin typeface="HP Display Beta Regular" pitchFamily="34" charset="0"/>
                        </a:rPr>
                        <a:t>1100</a:t>
                      </a:r>
                    </a:p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29” x 43”</a:t>
                      </a:r>
                      <a:endParaRPr lang="en-US" sz="1100" dirty="0">
                        <a:solidFill>
                          <a:schemeClr val="tx1"/>
                        </a:solidFill>
                        <a:latin typeface="HP Display Beta Regular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3 colors- 45m/m</a:t>
                      </a:r>
                    </a:p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 4 colors- 34m/m</a:t>
                      </a:r>
                    </a:p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 5 colors- 27m/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10µ - 250µ</a:t>
                      </a:r>
                      <a:endParaRPr lang="en-US" sz="1100" dirty="0">
                        <a:latin typeface="HP Display Beta Regular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Paper</a:t>
                      </a:r>
                    </a:p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Aluminum</a:t>
                      </a:r>
                    </a:p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Plastic media</a:t>
                      </a:r>
                    </a:p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Recycle</a:t>
                      </a:r>
                      <a:r>
                        <a:rPr lang="en-US" sz="1100" baseline="0" dirty="0" smtClean="0">
                          <a:latin typeface="HP Display Beta Regular" pitchFamily="34" charset="0"/>
                        </a:rPr>
                        <a:t> media</a:t>
                      </a:r>
                      <a:endParaRPr lang="en-US" sz="1100" dirty="0">
                        <a:latin typeface="HP Display Beta Regular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100" kern="1200" dirty="0" smtClean="0">
                          <a:latin typeface="HP Display Beta Regular" pitchFamily="34" charset="0"/>
                        </a:rPr>
                        <a:t>7 stations, CMYKOVG, Spot colors, White</a:t>
                      </a:r>
                      <a:endParaRPr lang="en-US" sz="1100" kern="1200" dirty="0">
                        <a:solidFill>
                          <a:schemeClr val="dk1"/>
                        </a:solidFill>
                        <a:latin typeface="HP Display Beta Regular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Flexible Packaging</a:t>
                      </a:r>
                    </a:p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Labels</a:t>
                      </a:r>
                    </a:p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Sleeves</a:t>
                      </a:r>
                    </a:p>
                    <a:p>
                      <a:pPr algn="ctr" rtl="0"/>
                      <a:r>
                        <a:rPr lang="en-US" sz="1100" dirty="0" smtClean="0">
                          <a:latin typeface="HP Display Beta Regular" pitchFamily="34" charset="0"/>
                        </a:rPr>
                        <a:t> tubes</a:t>
                      </a:r>
                      <a:endParaRPr lang="en-US" sz="1100" dirty="0">
                        <a:latin typeface="HP Display Beta Regular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184341" name="Picture 7" descr="HP Indigo 20 000 schematics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2743200"/>
            <a:ext cx="9144000" cy="3324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 rot="5400000" flipH="1">
            <a:off x="2386806" y="797720"/>
            <a:ext cx="415925" cy="111601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77" name="Rectangle 76"/>
          <p:cNvSpPr/>
          <p:nvPr/>
        </p:nvSpPr>
        <p:spPr>
          <a:xfrm rot="5400000" flipH="1">
            <a:off x="2386013" y="1217613"/>
            <a:ext cx="417512" cy="1116012"/>
          </a:xfrm>
          <a:prstGeom prst="rect">
            <a:avLst/>
          </a:prstGeom>
          <a:solidFill>
            <a:srgbClr val="FF009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 rot="5400000" flipH="1">
            <a:off x="2386806" y="1634332"/>
            <a:ext cx="415925" cy="1116012"/>
          </a:xfrm>
          <a:prstGeom prst="rect">
            <a:avLst/>
          </a:prstGeom>
          <a:solidFill>
            <a:srgbClr val="00B7E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79" name="Rectangle 78"/>
          <p:cNvSpPr/>
          <p:nvPr/>
        </p:nvSpPr>
        <p:spPr>
          <a:xfrm rot="5400000" flipH="1">
            <a:off x="2386806" y="2048670"/>
            <a:ext cx="415925" cy="1116012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 rot="5400000" flipH="1">
            <a:off x="2386806" y="2459832"/>
            <a:ext cx="415925" cy="1116012"/>
          </a:xfrm>
          <a:prstGeom prst="rect">
            <a:avLst/>
          </a:prstGeom>
          <a:solidFill>
            <a:srgbClr val="FFA5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81" name="Rectangle 80"/>
          <p:cNvSpPr/>
          <p:nvPr/>
        </p:nvSpPr>
        <p:spPr>
          <a:xfrm rot="5400000" flipH="1">
            <a:off x="2386806" y="2874170"/>
            <a:ext cx="415925" cy="1116012"/>
          </a:xfrm>
          <a:prstGeom prst="rect">
            <a:avLst/>
          </a:prstGeom>
          <a:solidFill>
            <a:srgbClr val="03C03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 rot="5400000" flipH="1">
            <a:off x="2386806" y="3286920"/>
            <a:ext cx="415925" cy="1116012"/>
          </a:xfrm>
          <a:prstGeom prst="rect">
            <a:avLst/>
          </a:prstGeom>
          <a:solidFill>
            <a:srgbClr val="9932C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83" name="Rectangle 82"/>
          <p:cNvSpPr/>
          <p:nvPr/>
        </p:nvSpPr>
        <p:spPr>
          <a:xfrm rot="5400000" flipH="1">
            <a:off x="2386806" y="3780632"/>
            <a:ext cx="415925" cy="11160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84" name="Rectangle 83"/>
          <p:cNvSpPr/>
          <p:nvPr/>
        </p:nvSpPr>
        <p:spPr>
          <a:xfrm rot="5400000" flipH="1">
            <a:off x="2386806" y="4271170"/>
            <a:ext cx="415925" cy="11160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 rot="5400000" flipH="1">
            <a:off x="2386806" y="4763295"/>
            <a:ext cx="415925" cy="1116012"/>
          </a:xfrm>
          <a:prstGeom prst="rect">
            <a:avLst/>
          </a:prstGeom>
          <a:solidFill>
            <a:srgbClr val="00539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 rot="5400000" flipH="1">
            <a:off x="2386806" y="5250657"/>
            <a:ext cx="415925" cy="1116012"/>
          </a:xfrm>
          <a:prstGeom prst="rect">
            <a:avLst/>
          </a:prstGeom>
          <a:solidFill>
            <a:srgbClr val="FFFF8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208909" name="Title 1"/>
          <p:cNvSpPr>
            <a:spLocks noGrp="1"/>
          </p:cNvSpPr>
          <p:nvPr>
            <p:ph type="title"/>
          </p:nvPr>
        </p:nvSpPr>
        <p:spPr>
          <a:xfrm>
            <a:off x="234950" y="390525"/>
            <a:ext cx="8375650" cy="671513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hr-HR" smtClean="0">
                <a:latin typeface="Futura Bk"/>
              </a:rPr>
              <a:t>HP INDIGO - 4, 5, 6 ili </a:t>
            </a:r>
            <a:r>
              <a:rPr lang="en-US" smtClean="0">
                <a:latin typeface="Futura Bk"/>
              </a:rPr>
              <a:t>7 </a:t>
            </a:r>
            <a:r>
              <a:rPr lang="hr-HR" smtClean="0">
                <a:latin typeface="Futura Bk"/>
              </a:rPr>
              <a:t>kolornih modula</a:t>
            </a:r>
            <a:endParaRPr lang="en-US" smtClean="0">
              <a:latin typeface="Futura Bk"/>
            </a:endParaRPr>
          </a:p>
        </p:txBody>
      </p:sp>
      <p:sp>
        <p:nvSpPr>
          <p:cNvPr id="35" name="Rectangle 34"/>
          <p:cNvSpPr/>
          <p:nvPr/>
        </p:nvSpPr>
        <p:spPr>
          <a:xfrm rot="16200000">
            <a:off x="3486944" y="797719"/>
            <a:ext cx="415925" cy="111601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 rot="16200000">
            <a:off x="3486151" y="1217612"/>
            <a:ext cx="417512" cy="1116013"/>
          </a:xfrm>
          <a:prstGeom prst="rect">
            <a:avLst/>
          </a:prstGeom>
          <a:solidFill>
            <a:srgbClr val="FF009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 rot="16200000">
            <a:off x="3486944" y="1634331"/>
            <a:ext cx="415925" cy="1116013"/>
          </a:xfrm>
          <a:prstGeom prst="rect">
            <a:avLst/>
          </a:prstGeom>
          <a:solidFill>
            <a:srgbClr val="00B7E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 rot="16200000">
            <a:off x="3486944" y="2048669"/>
            <a:ext cx="415925" cy="1116013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 rot="16200000">
            <a:off x="3486944" y="2459831"/>
            <a:ext cx="415925" cy="1116013"/>
          </a:xfrm>
          <a:prstGeom prst="rect">
            <a:avLst/>
          </a:prstGeom>
          <a:solidFill>
            <a:srgbClr val="FFA5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 rot="16200000">
            <a:off x="3486944" y="2874169"/>
            <a:ext cx="415925" cy="1116013"/>
          </a:xfrm>
          <a:prstGeom prst="rect">
            <a:avLst/>
          </a:prstGeom>
          <a:solidFill>
            <a:srgbClr val="03C03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 rot="16200000">
            <a:off x="3486944" y="3286919"/>
            <a:ext cx="415925" cy="1116013"/>
          </a:xfrm>
          <a:prstGeom prst="rect">
            <a:avLst/>
          </a:prstGeom>
          <a:solidFill>
            <a:srgbClr val="9932C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 rot="16200000">
            <a:off x="3486944" y="3780631"/>
            <a:ext cx="415925" cy="11160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 rot="16200000">
            <a:off x="3486944" y="4271169"/>
            <a:ext cx="415925" cy="111601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 rot="16200000">
            <a:off x="3486944" y="4763294"/>
            <a:ext cx="415925" cy="1116013"/>
          </a:xfrm>
          <a:prstGeom prst="rect">
            <a:avLst/>
          </a:prstGeom>
          <a:solidFill>
            <a:srgbClr val="00539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 rot="16200000">
            <a:off x="3486944" y="5250656"/>
            <a:ext cx="415925" cy="1116013"/>
          </a:xfrm>
          <a:prstGeom prst="rect">
            <a:avLst/>
          </a:prstGeom>
          <a:solidFill>
            <a:srgbClr val="FFFF8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 rot="16200000">
            <a:off x="2943225" y="436563"/>
            <a:ext cx="415925" cy="1911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lack</a:t>
            </a:r>
          </a:p>
        </p:txBody>
      </p:sp>
      <p:sp>
        <p:nvSpPr>
          <p:cNvPr id="18" name="Rectangle 17"/>
          <p:cNvSpPr/>
          <p:nvPr/>
        </p:nvSpPr>
        <p:spPr>
          <a:xfrm rot="16200000">
            <a:off x="2942431" y="856457"/>
            <a:ext cx="417513" cy="1911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genta</a:t>
            </a:r>
          </a:p>
        </p:txBody>
      </p:sp>
      <p:sp>
        <p:nvSpPr>
          <p:cNvPr id="19" name="Rectangle 18"/>
          <p:cNvSpPr/>
          <p:nvPr/>
        </p:nvSpPr>
        <p:spPr>
          <a:xfrm rot="16200000">
            <a:off x="2943225" y="1273176"/>
            <a:ext cx="415925" cy="1911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yan</a:t>
            </a:r>
          </a:p>
        </p:txBody>
      </p:sp>
      <p:sp>
        <p:nvSpPr>
          <p:cNvPr id="20" name="Rectangle 19"/>
          <p:cNvSpPr/>
          <p:nvPr/>
        </p:nvSpPr>
        <p:spPr>
          <a:xfrm rot="16200000">
            <a:off x="2943225" y="1687513"/>
            <a:ext cx="415925" cy="1911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ellow</a:t>
            </a:r>
          </a:p>
        </p:txBody>
      </p:sp>
      <p:sp>
        <p:nvSpPr>
          <p:cNvPr id="21" name="Rectangle 20"/>
          <p:cNvSpPr/>
          <p:nvPr/>
        </p:nvSpPr>
        <p:spPr>
          <a:xfrm rot="16200000">
            <a:off x="2943225" y="2098676"/>
            <a:ext cx="415925" cy="1911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range</a:t>
            </a:r>
          </a:p>
        </p:txBody>
      </p:sp>
      <p:sp>
        <p:nvSpPr>
          <p:cNvPr id="22" name="Rectangle 21"/>
          <p:cNvSpPr/>
          <p:nvPr/>
        </p:nvSpPr>
        <p:spPr>
          <a:xfrm rot="16200000">
            <a:off x="2943225" y="2513013"/>
            <a:ext cx="415925" cy="1911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een</a:t>
            </a:r>
          </a:p>
        </p:txBody>
      </p:sp>
      <p:sp>
        <p:nvSpPr>
          <p:cNvPr id="23" name="Rectangle 22"/>
          <p:cNvSpPr/>
          <p:nvPr/>
        </p:nvSpPr>
        <p:spPr>
          <a:xfrm rot="16200000">
            <a:off x="2942432" y="2924969"/>
            <a:ext cx="417512" cy="1911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olet</a:t>
            </a:r>
          </a:p>
        </p:txBody>
      </p:sp>
      <p:sp>
        <p:nvSpPr>
          <p:cNvPr id="24" name="Rectangle 23"/>
          <p:cNvSpPr/>
          <p:nvPr/>
        </p:nvSpPr>
        <p:spPr>
          <a:xfrm rot="16200000">
            <a:off x="2943225" y="3419476"/>
            <a:ext cx="415925" cy="1911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ite</a:t>
            </a:r>
          </a:p>
        </p:txBody>
      </p:sp>
      <p:sp>
        <p:nvSpPr>
          <p:cNvPr id="25" name="Rectangle 24"/>
          <p:cNvSpPr/>
          <p:nvPr/>
        </p:nvSpPr>
        <p:spPr>
          <a:xfrm rot="16200000">
            <a:off x="2943225" y="3910013"/>
            <a:ext cx="415925" cy="1911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hodamine Red</a:t>
            </a:r>
          </a:p>
        </p:txBody>
      </p:sp>
      <p:sp>
        <p:nvSpPr>
          <p:cNvPr id="26" name="Rectangle 25"/>
          <p:cNvSpPr/>
          <p:nvPr/>
        </p:nvSpPr>
        <p:spPr>
          <a:xfrm rot="16200000">
            <a:off x="2943225" y="4402138"/>
            <a:ext cx="415925" cy="1911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flex Blue</a:t>
            </a:r>
          </a:p>
        </p:txBody>
      </p:sp>
      <p:sp>
        <p:nvSpPr>
          <p:cNvPr id="27" name="Rectangle 26"/>
          <p:cNvSpPr/>
          <p:nvPr/>
        </p:nvSpPr>
        <p:spPr>
          <a:xfrm rot="16200000">
            <a:off x="2943225" y="4889501"/>
            <a:ext cx="415925" cy="1911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right Yellow</a:t>
            </a:r>
          </a:p>
        </p:txBody>
      </p:sp>
      <p:sp>
        <p:nvSpPr>
          <p:cNvPr id="36" name="Rectangle 35"/>
          <p:cNvSpPr/>
          <p:nvPr/>
        </p:nvSpPr>
        <p:spPr>
          <a:xfrm rot="16200000">
            <a:off x="536575" y="1814512"/>
            <a:ext cx="415925" cy="158750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utura Hv" pitchFamily="34" charset="0"/>
              </a:rPr>
              <a:t>IndiChrome</a:t>
            </a:r>
          </a:p>
          <a:p>
            <a:pPr algn="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tended Color Gamut</a:t>
            </a:r>
          </a:p>
        </p:txBody>
      </p:sp>
      <p:pic>
        <p:nvPicPr>
          <p:cNvPr id="20893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72013" y="4267200"/>
            <a:ext cx="1395412" cy="162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1" name="Elbow Connector 110"/>
          <p:cNvCxnSpPr>
            <a:stCxn id="36" idx="2"/>
            <a:endCxn id="76" idx="2"/>
          </p:cNvCxnSpPr>
          <p:nvPr/>
        </p:nvCxnSpPr>
        <p:spPr>
          <a:xfrm flipV="1">
            <a:off x="1538288" y="1355725"/>
            <a:ext cx="498475" cy="1252538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Elbow Connector 112"/>
          <p:cNvCxnSpPr>
            <a:stCxn id="36" idx="2"/>
            <a:endCxn id="77" idx="2"/>
          </p:cNvCxnSpPr>
          <p:nvPr/>
        </p:nvCxnSpPr>
        <p:spPr>
          <a:xfrm flipV="1">
            <a:off x="1538288" y="1776413"/>
            <a:ext cx="498475" cy="831850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Elbow Connector 114"/>
          <p:cNvCxnSpPr>
            <a:stCxn id="36" idx="2"/>
            <a:endCxn id="78" idx="2"/>
          </p:cNvCxnSpPr>
          <p:nvPr/>
        </p:nvCxnSpPr>
        <p:spPr>
          <a:xfrm flipV="1">
            <a:off x="1538288" y="2192338"/>
            <a:ext cx="498475" cy="415925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Elbow Connector 116"/>
          <p:cNvCxnSpPr>
            <a:stCxn id="36" idx="2"/>
            <a:endCxn id="79" idx="2"/>
          </p:cNvCxnSpPr>
          <p:nvPr/>
        </p:nvCxnSpPr>
        <p:spPr>
          <a:xfrm flipV="1">
            <a:off x="1538288" y="2606675"/>
            <a:ext cx="498475" cy="1588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Elbow Connector 118"/>
          <p:cNvCxnSpPr>
            <a:stCxn id="36" idx="2"/>
            <a:endCxn id="80" idx="2"/>
          </p:cNvCxnSpPr>
          <p:nvPr/>
        </p:nvCxnSpPr>
        <p:spPr>
          <a:xfrm>
            <a:off x="1538288" y="2608263"/>
            <a:ext cx="498475" cy="409575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Elbow Connector 120"/>
          <p:cNvCxnSpPr>
            <a:stCxn id="36" idx="2"/>
            <a:endCxn id="81" idx="2"/>
          </p:cNvCxnSpPr>
          <p:nvPr/>
        </p:nvCxnSpPr>
        <p:spPr>
          <a:xfrm>
            <a:off x="1538288" y="2608263"/>
            <a:ext cx="498475" cy="823912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Elbow Connector 122"/>
          <p:cNvCxnSpPr>
            <a:stCxn id="36" idx="2"/>
            <a:endCxn id="82" idx="2"/>
          </p:cNvCxnSpPr>
          <p:nvPr/>
        </p:nvCxnSpPr>
        <p:spPr>
          <a:xfrm>
            <a:off x="1538288" y="2608263"/>
            <a:ext cx="498475" cy="1236662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Elbow Connector 124"/>
          <p:cNvCxnSpPr>
            <a:stCxn id="35" idx="2"/>
            <a:endCxn id="1026" idx="1"/>
          </p:cNvCxnSpPr>
          <p:nvPr/>
        </p:nvCxnSpPr>
        <p:spPr>
          <a:xfrm>
            <a:off x="4252913" y="1355725"/>
            <a:ext cx="419100" cy="3721100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Elbow Connector 126"/>
          <p:cNvCxnSpPr>
            <a:stCxn id="38" idx="2"/>
            <a:endCxn id="1026" idx="1"/>
          </p:cNvCxnSpPr>
          <p:nvPr/>
        </p:nvCxnSpPr>
        <p:spPr>
          <a:xfrm>
            <a:off x="4252913" y="1774825"/>
            <a:ext cx="419100" cy="3302000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Elbow Connector 128"/>
          <p:cNvCxnSpPr>
            <a:stCxn id="39" idx="2"/>
            <a:endCxn id="1026" idx="1"/>
          </p:cNvCxnSpPr>
          <p:nvPr/>
        </p:nvCxnSpPr>
        <p:spPr>
          <a:xfrm>
            <a:off x="4252913" y="2192338"/>
            <a:ext cx="419100" cy="2884487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Elbow Connector 130"/>
          <p:cNvCxnSpPr>
            <a:stCxn id="40" idx="2"/>
            <a:endCxn id="1026" idx="1"/>
          </p:cNvCxnSpPr>
          <p:nvPr/>
        </p:nvCxnSpPr>
        <p:spPr>
          <a:xfrm>
            <a:off x="4252913" y="2606675"/>
            <a:ext cx="419100" cy="2470150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Elbow Connector 132"/>
          <p:cNvCxnSpPr>
            <a:stCxn id="41" idx="2"/>
            <a:endCxn id="1026" idx="1"/>
          </p:cNvCxnSpPr>
          <p:nvPr/>
        </p:nvCxnSpPr>
        <p:spPr>
          <a:xfrm>
            <a:off x="4252913" y="3017838"/>
            <a:ext cx="419100" cy="2058987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Elbow Connector 134"/>
          <p:cNvCxnSpPr>
            <a:stCxn id="42" idx="2"/>
            <a:endCxn id="1026" idx="1"/>
          </p:cNvCxnSpPr>
          <p:nvPr/>
        </p:nvCxnSpPr>
        <p:spPr>
          <a:xfrm>
            <a:off x="4252913" y="3432175"/>
            <a:ext cx="419100" cy="1644650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Elbow Connector 136"/>
          <p:cNvCxnSpPr>
            <a:stCxn id="43" idx="2"/>
            <a:endCxn id="1026" idx="1"/>
          </p:cNvCxnSpPr>
          <p:nvPr/>
        </p:nvCxnSpPr>
        <p:spPr>
          <a:xfrm>
            <a:off x="4252913" y="3844925"/>
            <a:ext cx="419100" cy="1231900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Elbow Connector 138"/>
          <p:cNvCxnSpPr>
            <a:stCxn id="44" idx="2"/>
            <a:endCxn id="1026" idx="1"/>
          </p:cNvCxnSpPr>
          <p:nvPr/>
        </p:nvCxnSpPr>
        <p:spPr>
          <a:xfrm>
            <a:off x="4252913" y="4338638"/>
            <a:ext cx="419100" cy="738187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Elbow Connector 140"/>
          <p:cNvCxnSpPr>
            <a:stCxn id="46" idx="2"/>
            <a:endCxn id="1026" idx="1"/>
          </p:cNvCxnSpPr>
          <p:nvPr/>
        </p:nvCxnSpPr>
        <p:spPr>
          <a:xfrm>
            <a:off x="4252913" y="4829175"/>
            <a:ext cx="419100" cy="247650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Elbow Connector 142"/>
          <p:cNvCxnSpPr>
            <a:stCxn id="49" idx="2"/>
            <a:endCxn id="1026" idx="1"/>
          </p:cNvCxnSpPr>
          <p:nvPr/>
        </p:nvCxnSpPr>
        <p:spPr>
          <a:xfrm flipV="1">
            <a:off x="4252913" y="5076825"/>
            <a:ext cx="419100" cy="244475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Elbow Connector 144"/>
          <p:cNvCxnSpPr>
            <a:stCxn id="50" idx="2"/>
            <a:endCxn id="1026" idx="1"/>
          </p:cNvCxnSpPr>
          <p:nvPr/>
        </p:nvCxnSpPr>
        <p:spPr>
          <a:xfrm flipV="1">
            <a:off x="4252913" y="5076825"/>
            <a:ext cx="419100" cy="731838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Box 145"/>
          <p:cNvSpPr txBox="1"/>
          <p:nvPr/>
        </p:nvSpPr>
        <p:spPr>
          <a:xfrm>
            <a:off x="4578350" y="5907088"/>
            <a:ext cx="1217613" cy="4302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HP IndiChrom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nk Mixing System</a:t>
            </a:r>
          </a:p>
        </p:txBody>
      </p:sp>
      <p:sp>
        <p:nvSpPr>
          <p:cNvPr id="148" name="Rectangle 147"/>
          <p:cNvSpPr/>
          <p:nvPr/>
        </p:nvSpPr>
        <p:spPr>
          <a:xfrm rot="16200000">
            <a:off x="2934494" y="5180806"/>
            <a:ext cx="415925" cy="223361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nsparent</a:t>
            </a:r>
          </a:p>
        </p:txBody>
      </p:sp>
      <p:cxnSp>
        <p:nvCxnSpPr>
          <p:cNvPr id="150" name="Elbow Connector 149"/>
          <p:cNvCxnSpPr>
            <a:stCxn id="148" idx="2"/>
            <a:endCxn id="1026" idx="1"/>
          </p:cNvCxnSpPr>
          <p:nvPr/>
        </p:nvCxnSpPr>
        <p:spPr>
          <a:xfrm flipV="1">
            <a:off x="4259263" y="5076825"/>
            <a:ext cx="412750" cy="1220788"/>
          </a:xfrm>
          <a:prstGeom prst="bentConnector3">
            <a:avLst>
              <a:gd name="adj1" fmla="val 50000"/>
            </a:avLst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Box 153"/>
          <p:cNvSpPr txBox="1"/>
          <p:nvPr/>
        </p:nvSpPr>
        <p:spPr>
          <a:xfrm>
            <a:off x="6389688" y="5884863"/>
            <a:ext cx="865187" cy="2619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Spot colors!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7285038" y="4727575"/>
            <a:ext cx="752475" cy="6000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97% of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ANTON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library</a:t>
            </a:r>
          </a:p>
        </p:txBody>
      </p:sp>
      <p:sp>
        <p:nvSpPr>
          <p:cNvPr id="158" name="Rectangle 157"/>
          <p:cNvSpPr/>
          <p:nvPr/>
        </p:nvSpPr>
        <p:spPr>
          <a:xfrm>
            <a:off x="6450013" y="4256088"/>
            <a:ext cx="831850" cy="16573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59" name="Rectangle 158"/>
          <p:cNvSpPr/>
          <p:nvPr/>
        </p:nvSpPr>
        <p:spPr>
          <a:xfrm>
            <a:off x="6448425" y="4252913"/>
            <a:ext cx="836613" cy="1228725"/>
          </a:xfrm>
          <a:prstGeom prst="rect">
            <a:avLst/>
          </a:prstGeom>
          <a:solidFill>
            <a:srgbClr val="7C068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208959" name="TextBox 160"/>
          <p:cNvSpPr txBox="1">
            <a:spLocks noChangeArrowheads="1"/>
          </p:cNvSpPr>
          <p:nvPr/>
        </p:nvSpPr>
        <p:spPr bwMode="auto">
          <a:xfrm>
            <a:off x="6389688" y="5446713"/>
            <a:ext cx="741362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900">
                <a:solidFill>
                  <a:srgbClr val="000000"/>
                </a:solidFill>
                <a:latin typeface="Futura Hv"/>
              </a:rPr>
              <a:t>PANTONE</a:t>
            </a:r>
          </a:p>
          <a:p>
            <a:r>
              <a:rPr lang="en-US" sz="900">
                <a:solidFill>
                  <a:srgbClr val="000000"/>
                </a:solidFill>
                <a:latin typeface="Futura Hv"/>
              </a:rPr>
              <a:t>222C</a:t>
            </a:r>
          </a:p>
        </p:txBody>
      </p:sp>
      <p:sp>
        <p:nvSpPr>
          <p:cNvPr id="66" name="Right Arrow 65"/>
          <p:cNvSpPr/>
          <p:nvPr/>
        </p:nvSpPr>
        <p:spPr>
          <a:xfrm>
            <a:off x="6021388" y="4572000"/>
            <a:ext cx="476250" cy="1106488"/>
          </a:xfrm>
          <a:prstGeom prst="rightArrow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11163" y="666750"/>
            <a:ext cx="2484437" cy="1446213"/>
          </a:xfrm>
        </p:spPr>
        <p:txBody>
          <a:bodyPr rtlCol="0">
            <a:sp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hr-HR" b="1" dirty="0" smtClean="0">
                <a:solidFill>
                  <a:prstClr val="black"/>
                </a:solidFill>
                <a:latin typeface="HP Display Beta Regular" pitchFamily="34" charset="0"/>
                <a:ea typeface="+mn-ea"/>
                <a:cs typeface="Arial" pitchFamily="34" charset="0"/>
              </a:rPr>
              <a:t>Široki format</a:t>
            </a:r>
            <a:endParaRPr lang="en-US" b="1" dirty="0">
              <a:solidFill>
                <a:prstClr val="black"/>
              </a:solidFill>
              <a:latin typeface="HP Display Beta Regular" pitchFamily="34" charset="0"/>
              <a:ea typeface="+mn-ea"/>
              <a:cs typeface="Arial" pitchFamily="34" charset="0"/>
            </a:endParaRPr>
          </a:p>
        </p:txBody>
      </p:sp>
      <p:sp>
        <p:nvSpPr>
          <p:cNvPr id="186370" name="正方形/長方形 33"/>
          <p:cNvSpPr>
            <a:spLocks noChangeArrowheads="1"/>
          </p:cNvSpPr>
          <p:nvPr/>
        </p:nvSpPr>
        <p:spPr bwMode="auto">
          <a:xfrm>
            <a:off x="3657600" y="1828800"/>
            <a:ext cx="4724400" cy="286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latin typeface="HP Display Beta Regular"/>
              </a:rPr>
              <a:t>30 inch (762 mm)  </a:t>
            </a:r>
            <a:r>
              <a:rPr lang="hr-HR">
                <a:latin typeface="HP Display Beta Regular"/>
              </a:rPr>
              <a:t>Širina role</a:t>
            </a:r>
            <a:endParaRPr lang="en-US" b="1">
              <a:latin typeface="HP Display Beta Regular"/>
            </a:endParaRPr>
          </a:p>
          <a:p>
            <a:endParaRPr lang="en-US" b="1">
              <a:latin typeface="HP Display Beta Regular"/>
            </a:endParaRPr>
          </a:p>
          <a:p>
            <a:r>
              <a:rPr lang="hr-HR">
                <a:latin typeface="HP Display Beta Regular"/>
              </a:rPr>
              <a:t>Kombatibilnost sa standardnim doradnim strojevima i proizvođačkom praksom.</a:t>
            </a:r>
            <a:r>
              <a:rPr lang="en-US">
                <a:latin typeface="HP Display Beta Regular"/>
              </a:rPr>
              <a:t> </a:t>
            </a:r>
          </a:p>
          <a:p>
            <a:endParaRPr lang="en-US">
              <a:latin typeface="HP Display Beta Regular"/>
            </a:endParaRPr>
          </a:p>
          <a:p>
            <a:r>
              <a:rPr lang="en-US">
                <a:latin typeface="HP Display Beta Regular"/>
              </a:rPr>
              <a:t>29 inch (736mm)  x 1.1</a:t>
            </a:r>
            <a:r>
              <a:rPr lang="hr-HR">
                <a:latin typeface="HP Display Beta Regular"/>
              </a:rPr>
              <a:t> m</a:t>
            </a:r>
            <a:r>
              <a:rPr lang="en-US">
                <a:latin typeface="HP Display Beta Regular"/>
              </a:rPr>
              <a:t> </a:t>
            </a:r>
            <a:r>
              <a:rPr lang="hr-HR">
                <a:latin typeface="HP Display Beta Regular"/>
              </a:rPr>
              <a:t>površina tiska</a:t>
            </a:r>
          </a:p>
          <a:p>
            <a:endParaRPr lang="en-US">
              <a:latin typeface="HP Display Beta Regular"/>
            </a:endParaRPr>
          </a:p>
          <a:p>
            <a:r>
              <a:rPr lang="en-US">
                <a:latin typeface="HP Display Beta Regular"/>
              </a:rPr>
              <a:t>HP Indigo 20000 </a:t>
            </a:r>
            <a:r>
              <a:rPr lang="hr-HR">
                <a:latin typeface="HP Display Beta Regular"/>
              </a:rPr>
              <a:t>format zadovoljava 90% formata za izradu fleksibilne ambalaže za hranu</a:t>
            </a:r>
            <a:endParaRPr lang="en-US">
              <a:latin typeface="HP Display Beta Regular"/>
            </a:endParaRPr>
          </a:p>
        </p:txBody>
      </p:sp>
      <p:sp>
        <p:nvSpPr>
          <p:cNvPr id="186371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57600" y="247650"/>
            <a:ext cx="5410200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>
              <a:buClr>
                <a:srgbClr val="00A4E4"/>
              </a:buClr>
            </a:pPr>
            <a:r>
              <a:rPr lang="hr-HR" sz="2400">
                <a:solidFill>
                  <a:srgbClr val="000000"/>
                </a:solidFill>
                <a:latin typeface="HP Display Beta Light"/>
              </a:rPr>
              <a:t>Za 90% svih aplikacija fleksibilne ambalaže koristeći standardne doradne strojeve</a:t>
            </a:r>
            <a:endParaRPr lang="en-US" sz="2400">
              <a:solidFill>
                <a:srgbClr val="000000"/>
              </a:solidFill>
              <a:latin typeface="HP Display Beta Light"/>
            </a:endParaRPr>
          </a:p>
        </p:txBody>
      </p:sp>
      <p:pic>
        <p:nvPicPr>
          <p:cNvPr id="186372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33800" y="5029200"/>
            <a:ext cx="4191000" cy="1262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6373" name="Picture 21" descr="target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334000" y="5105400"/>
            <a:ext cx="10668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6374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57175" y="2133600"/>
            <a:ext cx="279241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86375" name="Group 22"/>
          <p:cNvGrpSpPr>
            <a:grpSpLocks/>
          </p:cNvGrpSpPr>
          <p:nvPr/>
        </p:nvGrpSpPr>
        <p:grpSpPr bwMode="auto">
          <a:xfrm>
            <a:off x="211138" y="3429000"/>
            <a:ext cx="2884487" cy="3019425"/>
            <a:chOff x="5334000" y="3276600"/>
            <a:chExt cx="2884227" cy="3019425"/>
          </a:xfrm>
        </p:grpSpPr>
        <p:grpSp>
          <p:nvGrpSpPr>
            <p:cNvPr id="186376" name="Group 23"/>
            <p:cNvGrpSpPr>
              <a:grpSpLocks/>
            </p:cNvGrpSpPr>
            <p:nvPr/>
          </p:nvGrpSpPr>
          <p:grpSpPr bwMode="auto">
            <a:xfrm>
              <a:off x="5334000" y="3276600"/>
              <a:ext cx="2884227" cy="3019425"/>
              <a:chOff x="5334000" y="3276600"/>
              <a:chExt cx="2884227" cy="3019425"/>
            </a:xfrm>
          </p:grpSpPr>
          <p:pic>
            <p:nvPicPr>
              <p:cNvPr id="186378" name="Picture 1"/>
              <p:cNvPicPr>
                <a:picLocks noChangeAspect="1" noChangeArrowheads="1"/>
              </p:cNvPicPr>
              <p:nvPr/>
            </p:nvPicPr>
            <p:blipFill>
              <a:blip r:embed="rId7"/>
              <a:srcRect/>
              <a:stretch>
                <a:fillRect/>
              </a:stretch>
            </p:blipFill>
            <p:spPr bwMode="auto">
              <a:xfrm>
                <a:off x="5334000" y="3276600"/>
                <a:ext cx="2884227" cy="30194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86379" name="TextBox 26"/>
              <p:cNvSpPr txBox="1">
                <a:spLocks noChangeArrowheads="1"/>
              </p:cNvSpPr>
              <p:nvPr/>
            </p:nvSpPr>
            <p:spPr bwMode="auto">
              <a:xfrm>
                <a:off x="6400800" y="3505200"/>
                <a:ext cx="1219200" cy="24622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 sz="1000" b="1">
                    <a:solidFill>
                      <a:schemeClr val="accent1"/>
                    </a:solidFill>
                    <a:latin typeface="Calibri" pitchFamily="34" charset="0"/>
                  </a:rPr>
                  <a:t>Indigo 20000</a:t>
                </a:r>
              </a:p>
            </p:txBody>
          </p:sp>
        </p:grpSp>
        <p:sp>
          <p:nvSpPr>
            <p:cNvPr id="186377" name="Rectangle 24"/>
            <p:cNvSpPr>
              <a:spLocks noChangeArrowheads="1"/>
            </p:cNvSpPr>
            <p:nvPr/>
          </p:nvSpPr>
          <p:spPr bwMode="auto">
            <a:xfrm>
              <a:off x="6477000" y="3733800"/>
              <a:ext cx="838200" cy="24622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000" b="1">
                  <a:solidFill>
                    <a:schemeClr val="accent1"/>
                  </a:solidFill>
                  <a:latin typeface="Calibri" pitchFamily="34" charset="0"/>
                </a:rPr>
                <a:t>0.809 </a:t>
              </a:r>
              <a:r>
                <a:rPr lang="ja-JP" altLang="en-US" sz="1000" b="1">
                  <a:solidFill>
                    <a:schemeClr val="accent1"/>
                  </a:solidFill>
                  <a:latin typeface="Calibri" pitchFamily="34" charset="0"/>
                  <a:cs typeface="ＭＳ Ｐゴシック"/>
                </a:rPr>
                <a:t>㎡</a:t>
              </a:r>
              <a:endParaRPr lang="en-US" sz="1000" b="1">
                <a:solidFill>
                  <a:schemeClr val="accent1"/>
                </a:solidFill>
                <a:latin typeface="Calibri" pitchFamily="34" charset="0"/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329452-761D-4157-AF33-23CBB34CF41B}" type="slidenum">
              <a:rPr lang="en-US">
                <a:latin typeface="HP Display Beta Regular" pitchFamily="34" charset="0"/>
              </a:rPr>
              <a:pPr>
                <a:defRPr/>
              </a:pPr>
              <a:t>41</a:t>
            </a:fld>
            <a:endParaRPr lang="en-US" dirty="0">
              <a:latin typeface="HP Display Beta Regular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14300"/>
            <a:ext cx="9144000" cy="800100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hr-HR" sz="3600" dirty="0" smtClean="0">
                <a:latin typeface="HP Display Beta Regular" pitchFamily="34" charset="0"/>
              </a:rPr>
              <a:t>Jednostva izmjena redosljeda boja prilikom tiska</a:t>
            </a:r>
            <a:endParaRPr lang="en-US" sz="3600" dirty="0">
              <a:latin typeface="HP Display Beta Regular" pitchFamily="34" charset="0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114300" y="1274763"/>
            <a:ext cx="3695700" cy="512603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US" sz="1600" dirty="0">
              <a:latin typeface="HP Display Beta Regular" pitchFamily="34" charset="0"/>
            </a:endParaRPr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39825" y="2620963"/>
            <a:ext cx="1974850" cy="573087"/>
          </a:xfrm>
          <a:prstGeom prst="rect">
            <a:avLst/>
          </a:prstGeom>
          <a:noFill/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33475" y="2487613"/>
            <a:ext cx="1963738" cy="573087"/>
          </a:xfrm>
          <a:prstGeom prst="rect">
            <a:avLst/>
          </a:prstGeom>
          <a:noFill/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103313" y="2335213"/>
            <a:ext cx="2060575" cy="615950"/>
          </a:xfrm>
          <a:prstGeom prst="rect">
            <a:avLst/>
          </a:prstGeom>
          <a:noFill/>
        </p:spPr>
      </p:pic>
      <p:sp>
        <p:nvSpPr>
          <p:cNvPr id="10" name="Rectangle 9"/>
          <p:cNvSpPr/>
          <p:nvPr/>
        </p:nvSpPr>
        <p:spPr bwMode="auto">
          <a:xfrm>
            <a:off x="1371600" y="5063787"/>
            <a:ext cx="1597121" cy="1169647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isometricOffAxis1Top"/>
            <a:lightRig rig="threePt" dir="t"/>
          </a:scene3d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US" sz="1600" dirty="0">
              <a:latin typeface="HP Display Beta Regular" pitchFamily="34" charset="0"/>
            </a:endParaRPr>
          </a:p>
        </p:txBody>
      </p:sp>
      <p:sp>
        <p:nvSpPr>
          <p:cNvPr id="188424" name="TextBox 10"/>
          <p:cNvSpPr txBox="1">
            <a:spLocks noChangeArrowheads="1"/>
          </p:cNvSpPr>
          <p:nvPr/>
        </p:nvSpPr>
        <p:spPr bwMode="auto">
          <a:xfrm>
            <a:off x="884238" y="4230688"/>
            <a:ext cx="1905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>
                <a:latin typeface="HP Display Beta Regular"/>
              </a:rPr>
              <a:t>Surface print</a:t>
            </a:r>
          </a:p>
        </p:txBody>
      </p:sp>
      <p:pic>
        <p:nvPicPr>
          <p:cNvPr id="12" name="Picture 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169988" y="5224463"/>
            <a:ext cx="1974850" cy="579437"/>
          </a:xfrm>
          <a:prstGeom prst="rect">
            <a:avLst/>
          </a:prstGeom>
          <a:noFill/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93775" y="5035550"/>
            <a:ext cx="2054225" cy="615950"/>
          </a:xfrm>
          <a:prstGeom prst="rect">
            <a:avLst/>
          </a:prstGeom>
          <a:noFill/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88975" y="4810125"/>
            <a:ext cx="2292350" cy="663575"/>
          </a:xfrm>
          <a:prstGeom prst="rect">
            <a:avLst/>
          </a:prstGeom>
          <a:noFill/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42925" y="4645025"/>
            <a:ext cx="2309813" cy="658813"/>
          </a:xfrm>
          <a:prstGeom prst="rect">
            <a:avLst/>
          </a:prstGeom>
          <a:noFill/>
        </p:spPr>
      </p:pic>
      <p:pic>
        <p:nvPicPr>
          <p:cNvPr id="16" name="Picture 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895350" y="2120900"/>
            <a:ext cx="1976438" cy="579438"/>
          </a:xfrm>
          <a:prstGeom prst="rect">
            <a:avLst/>
          </a:prstGeom>
          <a:noFill/>
        </p:spPr>
      </p:pic>
      <p:sp>
        <p:nvSpPr>
          <p:cNvPr id="17" name="Rectangle 16"/>
          <p:cNvSpPr/>
          <p:nvPr/>
        </p:nvSpPr>
        <p:spPr bwMode="auto">
          <a:xfrm>
            <a:off x="1058727" y="1575167"/>
            <a:ext cx="1597121" cy="1169647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isometricOffAxis1Top"/>
            <a:lightRig rig="threePt" dir="t"/>
          </a:scene3d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US" sz="1600" dirty="0">
              <a:latin typeface="HP Display Beta Regular" pitchFamily="34" charset="0"/>
            </a:endParaRPr>
          </a:p>
        </p:txBody>
      </p:sp>
      <p:sp>
        <p:nvSpPr>
          <p:cNvPr id="188431" name="TextBox 17"/>
          <p:cNvSpPr txBox="1">
            <a:spLocks noChangeArrowheads="1"/>
          </p:cNvSpPr>
          <p:nvPr/>
        </p:nvSpPr>
        <p:spPr bwMode="auto">
          <a:xfrm>
            <a:off x="922338" y="1296988"/>
            <a:ext cx="18288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>
                <a:latin typeface="HP Display Beta Regular"/>
              </a:rPr>
              <a:t>Reverse  print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31888" y="1906588"/>
            <a:ext cx="1470025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P Display Beta Regular" pitchFamily="34" charset="0"/>
              </a:rPr>
              <a:t>White on Top</a:t>
            </a:r>
            <a:endParaRPr lang="en-US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P Display Beta Regular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71613" y="2562225"/>
            <a:ext cx="1470025" cy="306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P Display Beta Regular" pitchFamily="34" charset="0"/>
              </a:rPr>
              <a:t>Reversed image</a:t>
            </a:r>
            <a:endParaRPr lang="en-US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P Display Beta Regular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90600" y="5826125"/>
            <a:ext cx="2209800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P Display Beta Regular" pitchFamily="34" charset="0"/>
              </a:rPr>
              <a:t>White on the bottom</a:t>
            </a:r>
            <a:endParaRPr lang="en-US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P Display Beta Regular" pitchFamily="34" charset="0"/>
            </a:endParaRPr>
          </a:p>
        </p:txBody>
      </p:sp>
      <p:sp>
        <p:nvSpPr>
          <p:cNvPr id="188435" name="Rectangle 22"/>
          <p:cNvSpPr>
            <a:spLocks noChangeArrowheads="1"/>
          </p:cNvSpPr>
          <p:nvPr/>
        </p:nvSpPr>
        <p:spPr bwMode="auto">
          <a:xfrm>
            <a:off x="4200525" y="2286000"/>
            <a:ext cx="4862513" cy="286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2000">
                <a:latin typeface="HP Display Beta Regular"/>
              </a:rPr>
              <a:t>Tisak fleksibilne ambalaže zahtjeva tiska na površinu na neprozirnim materijalima kao i tisak u negativu na prozirnim materijalima.</a:t>
            </a:r>
            <a:endParaRPr lang="en-US" sz="2000">
              <a:latin typeface="Futura Bk"/>
            </a:endParaRPr>
          </a:p>
          <a:p>
            <a:endParaRPr lang="en-US" sz="2000">
              <a:latin typeface="Futura Bk"/>
            </a:endParaRPr>
          </a:p>
          <a:p>
            <a:r>
              <a:rPr lang="en-US" sz="2000">
                <a:latin typeface="Futura Bk"/>
              </a:rPr>
              <a:t>HP Indigo Color Switching Technology  </a:t>
            </a:r>
            <a:r>
              <a:rPr lang="hr-HR" sz="2000">
                <a:latin typeface="HP Display Beta Regular"/>
              </a:rPr>
              <a:t>pruža mogućnost brze izmjene redosljeda tiska boja kao i ponavljanje pojedinih boja</a:t>
            </a:r>
            <a:endParaRPr lang="en-US" sz="2000">
              <a:latin typeface="Futura Bk"/>
            </a:endParaRPr>
          </a:p>
        </p:txBody>
      </p:sp>
      <p:sp>
        <p:nvSpPr>
          <p:cNvPr id="188436" name="Up-Down Arrow 23"/>
          <p:cNvSpPr>
            <a:spLocks noChangeArrowheads="1"/>
          </p:cNvSpPr>
          <p:nvPr/>
        </p:nvSpPr>
        <p:spPr bwMode="auto">
          <a:xfrm>
            <a:off x="1625600" y="3352800"/>
            <a:ext cx="533400" cy="762000"/>
          </a:xfrm>
          <a:prstGeom prst="upDownArrow">
            <a:avLst>
              <a:gd name="adj1" fmla="val 50000"/>
              <a:gd name="adj2" fmla="val 50000"/>
            </a:avLst>
          </a:prstGeom>
          <a:solidFill>
            <a:srgbClr val="00B0F0"/>
          </a:solidFill>
          <a:ln w="19050" algn="ctr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</a:pPr>
            <a:endParaRPr lang="hr-HR" sz="1600">
              <a:latin typeface="HP Display Beta Regular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47625" y="6553200"/>
            <a:ext cx="246063" cy="219075"/>
          </a:xfrm>
        </p:spPr>
        <p:txBody>
          <a:bodyPr/>
          <a:lstStyle/>
          <a:p>
            <a:pPr>
              <a:defRPr/>
            </a:pPr>
            <a:fld id="{169EC8A7-B1D6-4134-B48A-7E5F5DF89B5B}" type="slidenum">
              <a:rPr lang="en-US">
                <a:latin typeface="HP Display Beta Regular" pitchFamily="34" charset="0"/>
              </a:rPr>
              <a:pPr>
                <a:defRPr/>
              </a:pPr>
              <a:t>42</a:t>
            </a:fld>
            <a:endParaRPr lang="en-US" dirty="0">
              <a:latin typeface="HP Display Beta Regular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2238" y="1054100"/>
            <a:ext cx="4221162" cy="1014413"/>
          </a:xfrm>
        </p:spPr>
        <p:txBody>
          <a:bodyPr rtlCol="0">
            <a:sp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hr-HR" sz="3600" b="1" dirty="0" smtClean="0">
                <a:solidFill>
                  <a:prstClr val="black"/>
                </a:solidFill>
                <a:latin typeface="Futura"/>
                <a:ea typeface="+mn-ea"/>
                <a:cs typeface="Arial" pitchFamily="34" charset="0"/>
              </a:rPr>
              <a:t>HP Indigo 20000</a:t>
            </a:r>
            <a:br>
              <a:rPr lang="hr-HR" sz="3600" b="1" dirty="0" smtClean="0">
                <a:solidFill>
                  <a:prstClr val="black"/>
                </a:solidFill>
                <a:latin typeface="Futura"/>
                <a:ea typeface="+mn-ea"/>
                <a:cs typeface="Arial" pitchFamily="34" charset="0"/>
              </a:rPr>
            </a:br>
            <a:r>
              <a:rPr lang="hr-HR" sz="2400" b="1" dirty="0" smtClean="0">
                <a:solidFill>
                  <a:prstClr val="black"/>
                </a:solidFill>
                <a:latin typeface="Futura"/>
                <a:cs typeface="Arial" pitchFamily="34" charset="0"/>
              </a:rPr>
              <a:t>Produktivnost     </a:t>
            </a:r>
            <a:endParaRPr lang="en-US" sz="2400" b="1" dirty="0">
              <a:solidFill>
                <a:prstClr val="black"/>
              </a:solidFill>
              <a:latin typeface="Futura"/>
              <a:ea typeface="+mn-ea"/>
              <a:cs typeface="Arial" pitchFamily="34" charset="0"/>
            </a:endParaRPr>
          </a:p>
        </p:txBody>
      </p:sp>
      <p:sp>
        <p:nvSpPr>
          <p:cNvPr id="190467" name="Rectangle 8"/>
          <p:cNvSpPr>
            <a:spLocks noChangeArrowheads="1"/>
          </p:cNvSpPr>
          <p:nvPr/>
        </p:nvSpPr>
        <p:spPr bwMode="auto">
          <a:xfrm>
            <a:off x="3657600" y="2306638"/>
            <a:ext cx="5486400" cy="369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i="1">
                <a:latin typeface="HP Display Beta Regular"/>
              </a:rPr>
              <a:t>Maksimalna brzina tiska</a:t>
            </a:r>
          </a:p>
          <a:p>
            <a:r>
              <a:rPr lang="hr-HR" i="1">
                <a:latin typeface="HP Display Beta Regular"/>
              </a:rPr>
              <a:t>u EPM modu 45 m/min </a:t>
            </a:r>
            <a:r>
              <a:rPr lang="en-US" i="1">
                <a:latin typeface="HP Display Beta Regular"/>
              </a:rPr>
              <a:t>– 33</a:t>
            </a:r>
            <a:r>
              <a:rPr lang="en-US" i="1" baseline="30000">
                <a:latin typeface="HP Display Beta Regular"/>
              </a:rPr>
              <a:t> </a:t>
            </a:r>
            <a:r>
              <a:rPr lang="en-US" i="1">
                <a:latin typeface="HP Display Beta Regular"/>
              </a:rPr>
              <a:t>m</a:t>
            </a:r>
            <a:r>
              <a:rPr lang="en-US" i="1" baseline="30000">
                <a:latin typeface="HP Display Beta Regular"/>
              </a:rPr>
              <a:t>2</a:t>
            </a:r>
            <a:endParaRPr lang="en-US" i="1">
              <a:latin typeface="HP Display Beta Regular"/>
            </a:endParaRPr>
          </a:p>
          <a:p>
            <a:endParaRPr lang="en-US" i="1">
              <a:latin typeface="HP Display Beta Regular"/>
            </a:endParaRPr>
          </a:p>
          <a:p>
            <a:r>
              <a:rPr lang="en-US">
                <a:latin typeface="HP Display Beta Regular"/>
              </a:rPr>
              <a:t>4 </a:t>
            </a:r>
            <a:r>
              <a:rPr lang="hr-HR">
                <a:latin typeface="HP Display Beta Regular"/>
              </a:rPr>
              <a:t>boje - </a:t>
            </a:r>
            <a:r>
              <a:rPr lang="en-US">
                <a:latin typeface="HP Display Beta Regular"/>
              </a:rPr>
              <a:t>34 m/min – 25</a:t>
            </a:r>
            <a:r>
              <a:rPr lang="hr-HR">
                <a:latin typeface="HP Display Beta Regular"/>
              </a:rPr>
              <a:t> </a:t>
            </a:r>
            <a:r>
              <a:rPr lang="en-US" i="1">
                <a:latin typeface="HP Display Beta Regular"/>
              </a:rPr>
              <a:t>m</a:t>
            </a:r>
            <a:r>
              <a:rPr lang="en-US" i="1" baseline="30000">
                <a:latin typeface="HP Display Beta Regular"/>
              </a:rPr>
              <a:t>2</a:t>
            </a:r>
          </a:p>
          <a:p>
            <a:r>
              <a:rPr lang="en-US">
                <a:latin typeface="HP Display Beta Regular"/>
              </a:rPr>
              <a:t>5 </a:t>
            </a:r>
            <a:r>
              <a:rPr lang="hr-HR">
                <a:latin typeface="HP Display Beta Regular"/>
              </a:rPr>
              <a:t>boja - </a:t>
            </a:r>
            <a:r>
              <a:rPr lang="en-US">
                <a:latin typeface="HP Display Beta Regular"/>
              </a:rPr>
              <a:t>27 m/min – 20</a:t>
            </a:r>
            <a:r>
              <a:rPr lang="hr-HR">
                <a:latin typeface="HP Display Beta Regular"/>
              </a:rPr>
              <a:t> </a:t>
            </a:r>
            <a:r>
              <a:rPr lang="en-US" i="1">
                <a:latin typeface="HP Display Beta Regular"/>
              </a:rPr>
              <a:t>m</a:t>
            </a:r>
            <a:r>
              <a:rPr lang="en-US" i="1" baseline="30000">
                <a:latin typeface="HP Display Beta Regular"/>
              </a:rPr>
              <a:t>2</a:t>
            </a:r>
          </a:p>
          <a:p>
            <a:endParaRPr lang="en-US">
              <a:latin typeface="HP Display Beta Regular"/>
            </a:endParaRPr>
          </a:p>
          <a:p>
            <a:r>
              <a:rPr lang="hr-HR">
                <a:latin typeface="HP Display Beta Regular"/>
              </a:rPr>
              <a:t>Dizajniran za non-stop (</a:t>
            </a:r>
            <a:r>
              <a:rPr lang="en-US">
                <a:latin typeface="HP Display Beta Regular"/>
              </a:rPr>
              <a:t>24/7</a:t>
            </a:r>
            <a:r>
              <a:rPr lang="hr-HR">
                <a:latin typeface="HP Display Beta Regular"/>
              </a:rPr>
              <a:t>)</a:t>
            </a:r>
            <a:r>
              <a:rPr lang="en-US">
                <a:latin typeface="HP Display Beta Regular"/>
              </a:rPr>
              <a:t> </a:t>
            </a:r>
            <a:r>
              <a:rPr lang="hr-HR">
                <a:latin typeface="HP Display Beta Regular"/>
              </a:rPr>
              <a:t>proizvodnju</a:t>
            </a:r>
            <a:endParaRPr lang="en-US" i="1">
              <a:latin typeface="HP Display Beta Regular"/>
            </a:endParaRPr>
          </a:p>
          <a:p>
            <a:endParaRPr lang="en-US">
              <a:latin typeface="HP Display Beta Regular"/>
            </a:endParaRPr>
          </a:p>
          <a:p>
            <a:r>
              <a:rPr lang="en-US">
                <a:latin typeface="HP Display Beta Regular"/>
              </a:rPr>
              <a:t>2.7 </a:t>
            </a:r>
            <a:r>
              <a:rPr lang="hr-HR">
                <a:latin typeface="HP Display Beta Regular"/>
              </a:rPr>
              <a:t>puta produktivniji nego </a:t>
            </a:r>
            <a:r>
              <a:rPr lang="en-US">
                <a:latin typeface="HP Display Beta Regular"/>
              </a:rPr>
              <a:t>HP Indigo WS6600</a:t>
            </a:r>
            <a:endParaRPr lang="en-US" i="1">
              <a:latin typeface="HP Display Beta Regular"/>
            </a:endParaRPr>
          </a:p>
          <a:p>
            <a:endParaRPr lang="en-US">
              <a:latin typeface="HP Display Beta Regular"/>
            </a:endParaRPr>
          </a:p>
          <a:p>
            <a:r>
              <a:rPr lang="hr-HR">
                <a:latin typeface="HP Display Beta Regular"/>
              </a:rPr>
              <a:t>Robustan DFE posebno dizajniran od strane</a:t>
            </a:r>
          </a:p>
          <a:p>
            <a:r>
              <a:rPr lang="hr-HR">
                <a:latin typeface="HP Display Beta Regular"/>
              </a:rPr>
              <a:t>ESKO-a, omogućava procesiranje preko 20 poslova dnevno.</a:t>
            </a:r>
            <a:endParaRPr lang="en-US" sz="1200">
              <a:latin typeface="HP Display Beta Regular"/>
            </a:endParaRPr>
          </a:p>
        </p:txBody>
      </p:sp>
      <p:pic>
        <p:nvPicPr>
          <p:cNvPr id="190468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27025" y="2514600"/>
            <a:ext cx="297180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6D6BE1-7696-483E-AD60-06F96DEC16DE}" type="slidenum">
              <a:rPr lang="en-US"/>
              <a:pPr>
                <a:defRPr/>
              </a:pPr>
              <a:t>4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0" y="1216025"/>
            <a:ext cx="3048000" cy="769938"/>
          </a:xfrm>
        </p:spPr>
        <p:txBody>
          <a:bodyPr rtlCol="0">
            <a:sp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hr-HR" b="1" dirty="0" smtClean="0">
                <a:solidFill>
                  <a:prstClr val="black"/>
                </a:solidFill>
                <a:latin typeface="HP Display Beta Regular" pitchFamily="34" charset="0"/>
                <a:ea typeface="+mn-ea"/>
                <a:cs typeface="Arial" pitchFamily="34" charset="0"/>
              </a:rPr>
              <a:t>Održivost</a:t>
            </a:r>
            <a:endParaRPr lang="en-US" b="1" dirty="0">
              <a:solidFill>
                <a:prstClr val="black"/>
              </a:solidFill>
              <a:latin typeface="HP Display Beta Regular" pitchFamily="34" charset="0"/>
              <a:ea typeface="+mn-ea"/>
              <a:cs typeface="Arial" pitchFamily="34" charset="0"/>
            </a:endParaRPr>
          </a:p>
        </p:txBody>
      </p:sp>
      <p:sp>
        <p:nvSpPr>
          <p:cNvPr id="192515" name="AutoShape 2" descr="data:image/jpg;base64,/9j/4AAQSkZJRgABAQAAAQABAAD/2wCEAAkGBhISERQUEhQUFBQSFRQUFBgVFRUUFBUUFBQVFRQUFBQXHCYeFxwjGRQUHy8gJCcpLCwsFR4xNTAqNSYrLCkBCQoKDgwOFA8PFCkYFBgpKSkpKSkpKSkpKSkpKSkpKSkpKSkpKSkpKSkpKTIpKSkpKSkpKSkpKSkpKSkpKSkpKf/AABEIAOEA4QMBIgACEQEDEQH/xAAcAAEAAQUBAQAAAAAAAAAAAAAABAIDBQYHAQj/xABCEAACAQIBBwoADQMDBQAAAAAAAQIDBBEFBhIhIjFxBxNBUWFygZGhsSMyM0JSYoKSorLB0fAUwuFDU9IVY3Pi8f/EABcBAQEBAQAAAAAAAAAAAAAAAAABAgP/xAAaEQEBAQEBAQEAAAAAAAAAAAAAARExAkES/9oADAMBAAIRAxEAPwDuIAAAAAAAAAAAFM5pJttJLW29SXFgVA1HLPKfZUMVGTrzXRS1xx7ajwj5NmoZR5Z6zx5mhTh1OcpVH5LRXuTYY66D5/uuUO/qPXcTj2U8Ka/CsTFzyncVZ4yr1m3qxdSbfhrJ+lx9KA4O8r3EKtRQrVUucnqU5LXj2MmU88rym9VafjJy9JYoumO2A5VYcqVZPColNd1L8uBuuQs7oXK2YSxSxaW1+z9xKY2AFFOspbnx61xW9FZUAAAAAAAAAAAAAAAAAAAAAA8bDOY8onKdzblbWcvhFjGrVW6GG+FN/S65fN3LXuaNizt5RbeyfNr4Wv0U4vVHHpqy+bw39nScwy5nVc3eLrT2einHZpr7PzuLxZqdvJymm9bett623hi23xMrLczlfTeIFWWspTKplDAq0S9Zx2o8V7lhTJNn8ePej7oDO3MFzlR/Xl7mOuZ6ydcvbn35/mMbXRULZvE6RybfLPus53aROkcnNN8639UsHQ6lFPf0bmtTXBnkU1v1r18esunjNsvUwY3+olHWteG9dfB9D/nCfRqqSTW5gVgAAAAAAAAAAAAAAAAFi+vI0qc6k3hCnGU5PqjFNv2A0jlUz1dpSVGjLCvWW9b6dPc5rqk3ilwb6EcQw38H+xPzgyvO6uZ1qm+pJvD6MVqhBdiWC8O0gpanwXuv8nOt+V+xW0ifVlqZDslr8C/UkZaqPJniZXKJQ0Vk0SVYLbh3o+6IikS7J7ce9H3QGYnLbn35/mZanSL0obUu/L8zLsaYFu1t9Z0DMR4VMOw0+3oI3DM+GFVPwNRK6AeNBA2yxslrkuJbpVua2m9lvCXZ1S/fs4EqpTwlj14kO+h8FLsafqBmUwYjNzKCqQcW9qm9F9ejr0X6NfZMuAAAAAAAAAAAAAADR+V/KTp2Ggng69SFPtcVjOX5EvE3g47yx5T07ulRT1Uabk+/VfT9mEfvAc3lv4FSjst9sV+Z/oUp4uTL2Gyu2XtFf8jlXSPaEsD1VC2tx7AJV1MpmClAUonZPjjOHej7oiQRkslx+Eh3o/mQRlNDXLvP3ZLpUyilDW+L9yXTiFXbenrNpzZeFSPFGuUIGxZvfKw4molb4ADbKLXestVqeMZrrj7FdSWMmupr1RcUNfg/UDRshX7pZRUG9mtFw+0sZR9mvE6EclzuqOjcQqrfSnGovsT0sPJNeJ1iE00mtaaxXB7gKgAAAAAAAAAAAAHjPnTOvKPP3tzVxxUqklHuQ2I/hgn4neM58p/09pXq44OFOTj32tGH4mj5xa2TNVZgtniyROOzH7T/ACr9C3o6kS7mGEafdb86lRe0Uc66TiJJailMrqFnHUVlfxKcSjEqiBdgjLZJh8JDvR90Y2lEzOSIfCQ7y90VE6l+/uTaUSLSju/nSzIU4EVchqwNjzbWNSJgadPWbFm/DbRqJW6o9KT1G2UHH4WXgS1HzwIyh8LJ9iJiQHM+UO26WtaTerdhi8V27zc8zL3nbKhLHFqCg+NPY9kn4mu5+0tUX16foy7yV3mNGpS+hKMlwksP7MfEUbwAAAAAAAAAAAAA0DlkyloWkKSeutUWPcpLSf4nTOOyWpG78r+UucvY0k9VCnFPv1Nt/h5vyNLa3GKseQjrXj+hJvHqj2Qj67X9xapLd/OkrvH6RivwxRzdEGrMtIqqCJqMvcCtCMSrRKi9SkZvJEvhI8V7mBiZnIy+EhxXuBmreG7gZKgiDQptE2nIKn0Ya0ZbI88JrizEW9TcZrI0dtcWajNbhB4oqiU09xUmaRF0fhHwJhGcdtcGSQNQz4oYwpvtmn4tGt8nV3oXKh0VFOHituP5WvE23O17MOrGfrgc5sLnma6n/t1YzfBSTl6Y+ZPSx2wHiZ6VAAAAAAAAA8Z6YPPbKXMWNxNPCXNuEe9U2I4cHLHwA4TlzKH9RdVq3RUqTku7jhH8KiRJ9J5QiK71HKtRcp/ohePXLy9SuBTcx1vj+pG0CSxPUj2RVTps1Ga9SKlEk0bRy3Jt9ibZm7LNC5qa1Skl9bCP5mmVGv0qRsGQrd6ceJl7bk9uemMfvI2HJmZNWO9R+8v0LiMJXho+bKqBstfMuq0sHHBdb/wRambNSPU+DJYuoFvMz2RHt+ZilkupF7n4azJZPpyi9zXgypW5xeoqRYtZ4xRfTNIsVfjx8SQWai24l8DXc6aeMOH+TmWVI4S0utNPit68jqucUNiT6tF/iSObZZoYqeHRteW/0JeLHTs17znbSjPpdNJ96GxL1izKmmclt7p2sodNOfpJfupG5iFAAVAAAAAAOdcsuUdGhRorfUm5vu01gvxTX3TopxLlSyhzt/KK3UYQp+LWnL1ml9klWNRplFZEihSJH9Em9e45qs0abfa9RM/6TKT3pY9uPsSqMsNW7hgvMkwqYdhcXUW3zZg3tSk+GC98TO5PyFbxw2E31yxl76vQh07lEyhfG5Iy2awpxjqikl2YJehnLTDsNRtb1mcsrk1EbLQiSowMfZ1DJRFFus9RjLmZkbl6jDXVQCNVkWVPDrKKlQoUiDLWmUWunzMjSvl0mBpImUYkGWVxFtcekk4mIUiunetdPgNF3K9PGnPu+zRzbKiwm1x8jo9e9hOMlubjLfw6Dn+ccMJPz/nmX4PeTG65u7q0XunBtdrg9X4W2dROL5FuuZvber0OahLhLYfo0doMxaAA0gAAAAAoq1FFNt4JJtvqSWLZ86Xly61WrVf+pOU39uTkl5PDwO18oOUuZyfXljrnHmo8aj0Xh9lyfgcNc+gzRfpbJdjMiKY50y0mqseqsQ1IuRkQS4VSXRqmOhMvQrGtGetKxsFjX7TTaFyZixvHqNyst+yfXM5RlijTsl3W7WbVZVMUWjy+q4GBu6yMplSqa9c1dYFMpFylHEjQMja0mZVKt6JLUMCim8N4nWXXh7EFNSoRK92ixfZQSMFdX+IE+5yiYy9rKawlg+hPs7eshVbsjSugIt7auNOXXB6Ue1da8kdmyVec7Rp1F8+EZeaWPricfqXGMXHofodC5N7zTsoxe+lKUHwTxXu/ITpW0gA0gAAAAA5nyx5T+QoJ/SrSXDYp+9TyOYtm18qVZyyjNfRhSiuGjp+82ahJmar11D2Miyi5EgvxmVqZF0j1TJipimVKoRFMuRkQTadYyNpc6zDRmSKU2WUxvOSLzcb1kmumv/hynJtRp69SNtyZnhbUflJ6/sr3kjpKyz+WK2tmvVJYs9vs57es8adRa+jFN+jZbtJRlL4y88Pclon2driZWnS0UWYQ0FrIF/l2Md2t/wA6SKnXN6o72YK9yz1MxV/lhy6TEVr3EDJ3GUW+kg1bogTrso50CY6+JZlVLPOFE5gX+dN25Mr9c5VpfSjp/daX978jn6mZnM2+dO+oP6U+bfConH3afgB2oAGkAAAAAHFuVe10b/S/3KVOXitKD/IjS5ROv8rWQ+coQrxW1QeEv/HPBN+ElHwbOSOBiqtRiVOJdhAuKkQRdA90CUqJ6qRNXEWNMr0WS4UitUSKs21FyeC8X1EqVV7qSSW5zltN91dPouwvWtJKm+2WD8MNXr6kilb6jUSsTLJun8pOpU7JSaj92OCINzk+lH/Tj91GyyoYGOu6WLN4msRaW9GU9F0o7sfix6zKUqbh8nKcOyMm4/cljH0PLaksfAv1I6iYWsjY521oLQqSxi+lYpeMXjhxXki7d3jevHFM1uvuZOsardLX814e37kqxflXZbnMNFMgPNM9TKUEBWmUyeoJluoyoaRk81YOV9bJb+eg/CD036RZiMTb+S3JjqXbq/NoQev69ROMV93TfkB15AA0gAAAAAt3FvGcJQmlKM04yT3OLWDT8DhmdWa8rOu4PF05YypS+lHqf1lufg+k7uYzL+Qqd3RdOpxjJfGhJbpR/mtNolmjgnNFyMDMZZzdq2tTQqLfjoSXxZpdMf1W9eWMOFAw0jc0e8yZCFsX4WIwY2nRJELVmUpZMMhb5M7BhrB0bVrFNNxfo+sv0aeGpmz0cnpFdawpvfHX1rUyyI1iVIxF3R2jcp5JT3PzX/HD2I9TNGUt0l59HDRNI06hHa/nYV1EbJPM+UW3pLz/APUhXOSVHoT44v0xw9CjXJUHLUvF9CJEWoxUVuXT1vrJFem/5u8iLKJhTnDxzKGU4lwXFIqTLcUVaQFxstSeJ45FdCjKUlGKcpSaUUli23uSS3gU0raVScYQTlObUYpdMm8Ejueaub0bO3jSWDl8apL6VR4aT4akl2JGGzHzJ/pVztZJ15LDDeqUXvin0yfS/BasW9xLEAAUAAAAAAAARb/JtOtBwqxUovofQ+tNa0+1Gi5WzBnTblR+Eh1f6iXDdLw19h0QEs0cjpWWvtWp8epk+jZnQL7I9KrrlFY/SWqXn08HiYavm1OPxGprqezL9n6ExWGpWq6i+oJFdalKGqUXHisPXpI86gRclPAt6RZdQqhIol0UZClh1ECjNEyFVFFF1h1GAyhR7DOV6q6zEXkkUaxeW5i6lE2C7SMVWiSjGukU6JJnTLfMNvBYtvclrb8FvMqsNnmBseTMxLythhS0Iv51XYXk9p+Ru+QuTShSwlXfPTWvDDCkvs/O8dXYBz/IGadxdv4OOEMddSWqC60umT7F6HU82szKFntR26rWDqS39qgt0F69bZnoU0kkkkksEksEl2IqLiAAKAAAAAAAAAAAAAAAAPGiHcZGoz3wWPWtl+aJoAwFXNGD+LUmuOi/0KVml/3fwL9zYQBgVmy1umvu/wCSpZBn9KPr+xnABr9TN2b+dH1/YiVc0qj+dDzl+xtYA0ipmLVfzqa8ZP8AtKqfJtF/HrPhGCXrJv2N1AGt23J/Zx3wlUf15v2jgjN2eTaVJYUqcIL6sVHzw3kkAAAAAAAAAAAAAAAAAAAAAAAAAAAAAAAAAAAAAAAAAAAAAAAAAAAAAAH/2Q=="/>
          <p:cNvSpPr>
            <a:spLocks noChangeAspect="1" noChangeArrowheads="1"/>
          </p:cNvSpPr>
          <p:nvPr/>
        </p:nvSpPr>
        <p:spPr bwMode="auto">
          <a:xfrm>
            <a:off x="63500" y="-1039813"/>
            <a:ext cx="2143125" cy="2143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hr-HR">
              <a:latin typeface="Calibri" pitchFamily="34" charset="0"/>
            </a:endParaRPr>
          </a:p>
        </p:txBody>
      </p:sp>
      <p:pic>
        <p:nvPicPr>
          <p:cNvPr id="192516" name="Picture 18" descr="green.bmp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33388" y="2395538"/>
            <a:ext cx="2638425" cy="1795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Box 21"/>
          <p:cNvSpPr txBox="1"/>
          <p:nvPr/>
        </p:nvSpPr>
        <p:spPr>
          <a:xfrm>
            <a:off x="3675063" y="1803400"/>
            <a:ext cx="5486400" cy="3570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dirty="0">
                <a:latin typeface="HP Display Beta Regular" pitchFamily="34" charset="0"/>
              </a:rPr>
              <a:t>Nema ploča ili cilindara kod izrade tiskovne forme, što omogućava kratke rokove isporuke.</a:t>
            </a:r>
            <a:endParaRPr lang="en-US" dirty="0">
              <a:latin typeface="HP Display Beta Regular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HP Display Beta Regular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dirty="0">
                <a:latin typeface="HP Display Beta Regular" pitchFamily="34" charset="0"/>
              </a:rPr>
              <a:t>Mogućnost tiska na bio-razgradive filmove.</a:t>
            </a:r>
            <a:endParaRPr lang="en-US" dirty="0">
              <a:latin typeface="HP Display Beta Regular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HP Display Beta Regular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dirty="0">
                <a:latin typeface="HP Display Beta Regular" pitchFamily="34" charset="0"/>
              </a:rPr>
              <a:t>Smanjuje otpad prilikom pripreme stroja za tisak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dirty="0">
                <a:latin typeface="HP Display Beta Regular" pitchFamily="34" charset="0"/>
              </a:rPr>
              <a:t>Smanjuje izradu fotopolimernih ploča i bakrotisnih cilindara, te smanjuje broj posebnih boja na skladištu.</a:t>
            </a:r>
            <a:endParaRPr lang="en-US" dirty="0">
              <a:latin typeface="HP Display Beta Regular" pitchFamily="34" charset="0"/>
            </a:endParaRPr>
          </a:p>
          <a:p>
            <a:pPr lvl="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endParaRPr lang="en-US" sz="1600" dirty="0">
              <a:solidFill>
                <a:srgbClr val="000000"/>
              </a:solidFill>
              <a:latin typeface="HP Display Beta Regular" pitchFamily="34" charset="0"/>
            </a:endParaRPr>
          </a:p>
          <a:p>
            <a:pPr marL="742950" lvl="1" indent="-285750" fontAlgn="auto"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Font typeface="Arial" pitchFamily="34" charset="0"/>
              <a:buChar char="•"/>
              <a:defRPr/>
            </a:pPr>
            <a:r>
              <a:rPr lang="hr-HR" sz="1600" dirty="0">
                <a:solidFill>
                  <a:srgbClr val="000000"/>
                </a:solidFill>
                <a:latin typeface="HP Display Beta Regular" pitchFamily="34" charset="0"/>
              </a:rPr>
              <a:t>Ušteda do </a:t>
            </a:r>
            <a:r>
              <a:rPr lang="en-US" sz="1600" dirty="0">
                <a:solidFill>
                  <a:srgbClr val="000000"/>
                </a:solidFill>
                <a:latin typeface="HP Display Beta Regular" pitchFamily="34" charset="0"/>
              </a:rPr>
              <a:t>12 ton</a:t>
            </a:r>
            <a:r>
              <a:rPr lang="hr-HR" sz="1600" dirty="0">
                <a:solidFill>
                  <a:srgbClr val="000000"/>
                </a:solidFill>
                <a:latin typeface="HP Display Beta Regular" pitchFamily="34" charset="0"/>
              </a:rPr>
              <a:t>a folije za tiska na godinu</a:t>
            </a:r>
            <a:endParaRPr lang="en-US" sz="1600" dirty="0">
              <a:solidFill>
                <a:srgbClr val="000000"/>
              </a:solidFill>
              <a:latin typeface="HP Display Beta Regular" pitchFamily="34" charset="0"/>
            </a:endParaRPr>
          </a:p>
          <a:p>
            <a:pPr marL="742950" lvl="1" indent="-285750" fontAlgn="auto"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Font typeface="Arial" pitchFamily="34" charset="0"/>
              <a:buChar char="•"/>
              <a:defRPr/>
            </a:pPr>
            <a:r>
              <a:rPr lang="hr-HR" sz="1600" dirty="0">
                <a:solidFill>
                  <a:srgbClr val="000000"/>
                </a:solidFill>
                <a:latin typeface="HP Display Beta Regular" pitchFamily="34" charset="0"/>
              </a:rPr>
              <a:t>Ušteda do 10.000</a:t>
            </a:r>
            <a:r>
              <a:rPr lang="en-US" sz="1600" dirty="0">
                <a:solidFill>
                  <a:srgbClr val="000000"/>
                </a:solidFill>
                <a:latin typeface="HP Display Beta Regular" pitchFamily="34" charset="0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HP Display Beta Regular" pitchFamily="34" charset="0"/>
              </a:rPr>
              <a:t>m</a:t>
            </a:r>
            <a:r>
              <a:rPr lang="en-US" sz="1600" baseline="30000" dirty="0">
                <a:solidFill>
                  <a:srgbClr val="000000"/>
                </a:solidFill>
                <a:latin typeface="HP Display Beta Regular" pitchFamily="34" charset="0"/>
              </a:rPr>
              <a:t>2</a:t>
            </a:r>
            <a:r>
              <a:rPr lang="en-US" sz="1600" dirty="0">
                <a:solidFill>
                  <a:srgbClr val="000000"/>
                </a:solidFill>
                <a:latin typeface="HP Display Beta Regular" pitchFamily="34" charset="0"/>
              </a:rPr>
              <a:t> of </a:t>
            </a:r>
            <a:r>
              <a:rPr lang="hr-HR" sz="1600" dirty="0">
                <a:solidFill>
                  <a:srgbClr val="000000"/>
                </a:solidFill>
                <a:latin typeface="HP Display Beta Regular" pitchFamily="34" charset="0"/>
              </a:rPr>
              <a:t>fotopolimernih ploča</a:t>
            </a:r>
            <a:endParaRPr lang="en-US" sz="1600" dirty="0">
              <a:solidFill>
                <a:srgbClr val="000000"/>
              </a:solidFill>
              <a:latin typeface="HP Display Beta Regular" pitchFamily="34" charset="0"/>
            </a:endParaRPr>
          </a:p>
          <a:p>
            <a:pPr marL="742950" lvl="1" indent="-285750" fontAlgn="auto"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Font typeface="Arial" pitchFamily="34" charset="0"/>
              <a:buChar char="•"/>
              <a:defRPr/>
            </a:pPr>
            <a:r>
              <a:rPr lang="hr-HR" sz="1600" dirty="0">
                <a:solidFill>
                  <a:srgbClr val="000000"/>
                </a:solidFill>
                <a:latin typeface="HP Display Beta Regular" pitchFamily="34" charset="0"/>
              </a:rPr>
              <a:t>Ušteda do </a:t>
            </a:r>
            <a:r>
              <a:rPr lang="en-US" sz="1600" dirty="0">
                <a:solidFill>
                  <a:srgbClr val="000000"/>
                </a:solidFill>
                <a:latin typeface="HP Display Beta Regular" pitchFamily="34" charset="0"/>
              </a:rPr>
              <a:t>25K </a:t>
            </a:r>
            <a:r>
              <a:rPr lang="hr-HR" sz="1600" dirty="0">
                <a:solidFill>
                  <a:srgbClr val="000000"/>
                </a:solidFill>
                <a:latin typeface="HP Display Beta Regular" pitchFamily="34" charset="0"/>
              </a:rPr>
              <a:t>bakrotisnih cilindara na godinu</a:t>
            </a:r>
            <a:endParaRPr lang="en-US" dirty="0">
              <a:latin typeface="HP Display Beta Regular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9810" name="think-cell Slide" r:id="rId13" imgW="360" imgH="360" progId="">
              <p:embed/>
            </p:oleObj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fld id="{F3D251D0-E7B5-4CD2-B9A6-A61DAF1F2E58}" type="slidenum">
              <a:rPr lang="en-US"/>
              <a:pPr>
                <a:defRPr/>
              </a:pPr>
              <a:t>4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57200" y="268288"/>
            <a:ext cx="8567738" cy="646112"/>
          </a:xfrm>
        </p:spPr>
        <p:txBody>
          <a:bodyPr rtlCol="0" anchor="t">
            <a:sp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hr-HR" sz="3600" dirty="0" smtClean="0">
                <a:solidFill>
                  <a:prstClr val="black"/>
                </a:solidFill>
                <a:latin typeface="HP Display Beta Regular" pitchFamily="34" charset="0"/>
                <a:ea typeface="+mn-ea"/>
                <a:cs typeface="Arial" pitchFamily="34" charset="0"/>
              </a:rPr>
              <a:t>HP INDIGO 20000</a:t>
            </a:r>
            <a:endParaRPr lang="en-US" sz="3600" dirty="0">
              <a:solidFill>
                <a:prstClr val="black"/>
              </a:solidFill>
              <a:latin typeface="HP Display Beta Regular" pitchFamily="34" charset="0"/>
              <a:ea typeface="+mn-ea"/>
              <a:cs typeface="Arial" pitchFamily="34" charset="0"/>
            </a:endParaRPr>
          </a:p>
        </p:txBody>
      </p:sp>
      <p:pic>
        <p:nvPicPr>
          <p:cNvPr id="119813" name="Picture 2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4"/>
          <a:srcRect/>
          <a:stretch>
            <a:fillRect/>
          </a:stretch>
        </p:blipFill>
        <p:spPr bwMode="auto">
          <a:xfrm>
            <a:off x="6248400" y="2819400"/>
            <a:ext cx="2362200" cy="177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9814" name="Picture 3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3440113" y="2819400"/>
            <a:ext cx="2362200" cy="177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9815" name="TextBox 1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20738" y="1905000"/>
            <a:ext cx="1981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latin typeface="HP Display Beta Regular"/>
              </a:rPr>
              <a:t>Primary Labels</a:t>
            </a:r>
          </a:p>
        </p:txBody>
      </p:sp>
      <p:sp>
        <p:nvSpPr>
          <p:cNvPr id="119816" name="TextBox 14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429000" y="1905000"/>
            <a:ext cx="2362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>
                <a:latin typeface="HP Display Beta Regular"/>
              </a:rPr>
              <a:t>Shrink Sleeves</a:t>
            </a:r>
          </a:p>
        </p:txBody>
      </p:sp>
      <p:sp>
        <p:nvSpPr>
          <p:cNvPr id="119817" name="TextBox 15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477000" y="1905000"/>
            <a:ext cx="19050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latin typeface="HP Display Beta Regular"/>
              </a:rPr>
              <a:t>Laminate Tubes</a:t>
            </a:r>
          </a:p>
        </p:txBody>
      </p:sp>
      <p:pic>
        <p:nvPicPr>
          <p:cNvPr id="119818" name="Picture 16" descr="anglia-1.jpg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6"/>
          <a:srcRect/>
          <a:stretch>
            <a:fillRect/>
          </a:stretch>
        </p:blipFill>
        <p:spPr bwMode="auto">
          <a:xfrm>
            <a:off x="630238" y="2819400"/>
            <a:ext cx="2362200" cy="177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633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sz="3600" smtClean="0"/>
              <a:t>HP Indigo 5600 Digital Press</a:t>
            </a:r>
          </a:p>
        </p:txBody>
      </p:sp>
      <p:pic>
        <p:nvPicPr>
          <p:cNvPr id="197634" name="Picture 7" descr="C:\Users\panush\Documents\Series 2\Kinneret\Schema\5600 schematic - Small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63713" y="1628775"/>
            <a:ext cx="5545137" cy="415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7635" name="Rectangle 18"/>
          <p:cNvSpPr>
            <a:spLocks noChangeArrowheads="1"/>
          </p:cNvSpPr>
          <p:nvPr/>
        </p:nvSpPr>
        <p:spPr bwMode="auto">
          <a:xfrm>
            <a:off x="107950" y="2638425"/>
            <a:ext cx="2879725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>
                <a:latin typeface="Calibri" pitchFamily="34" charset="0"/>
              </a:rPr>
              <a:t>One-Shot</a:t>
            </a:r>
          </a:p>
          <a:p>
            <a:pPr algn="ctr"/>
            <a:r>
              <a:rPr lang="en-US">
                <a:latin typeface="Calibri" pitchFamily="34" charset="0"/>
              </a:rPr>
              <a:t>Printing on synthetics</a:t>
            </a:r>
          </a:p>
        </p:txBody>
      </p:sp>
      <p:sp>
        <p:nvSpPr>
          <p:cNvPr id="197636" name="Rectangle 19"/>
          <p:cNvSpPr>
            <a:spLocks noChangeArrowheads="1"/>
          </p:cNvSpPr>
          <p:nvPr/>
        </p:nvSpPr>
        <p:spPr bwMode="auto">
          <a:xfrm>
            <a:off x="2700338" y="5516563"/>
            <a:ext cx="287972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>
                <a:latin typeface="Calibri" pitchFamily="34" charset="0"/>
              </a:rPr>
              <a:t>New Sensors</a:t>
            </a:r>
          </a:p>
          <a:p>
            <a:pPr algn="ctr"/>
            <a:r>
              <a:rPr lang="en-US">
                <a:latin typeface="Calibri" pitchFamily="34" charset="0"/>
              </a:rPr>
              <a:t>Printing on dark and transparent substrates</a:t>
            </a:r>
          </a:p>
        </p:txBody>
      </p:sp>
      <p:sp>
        <p:nvSpPr>
          <p:cNvPr id="197637" name="Rectangle 20"/>
          <p:cNvSpPr>
            <a:spLocks noChangeArrowheads="1"/>
          </p:cNvSpPr>
          <p:nvPr/>
        </p:nvSpPr>
        <p:spPr bwMode="auto">
          <a:xfrm>
            <a:off x="296863" y="5302250"/>
            <a:ext cx="28797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>
                <a:latin typeface="Calibri" pitchFamily="34" charset="0"/>
              </a:rPr>
              <a:t>Invisible Ink</a:t>
            </a:r>
          </a:p>
          <a:p>
            <a:pPr algn="ctr"/>
            <a:r>
              <a:rPr lang="en-US">
                <a:latin typeface="Calibri" pitchFamily="34" charset="0"/>
              </a:rPr>
              <a:t>New security applications</a:t>
            </a:r>
          </a:p>
        </p:txBody>
      </p:sp>
      <p:cxnSp>
        <p:nvCxnSpPr>
          <p:cNvPr id="27" name="Elbow Connector 26"/>
          <p:cNvCxnSpPr/>
          <p:nvPr/>
        </p:nvCxnSpPr>
        <p:spPr>
          <a:xfrm>
            <a:off x="2505075" y="2946400"/>
            <a:ext cx="1646238" cy="501650"/>
          </a:xfrm>
          <a:prstGeom prst="bentConnector3">
            <a:avLst>
              <a:gd name="adj1" fmla="val 49356"/>
            </a:avLst>
          </a:prstGeom>
          <a:ln w="28575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stCxn id="197637" idx="0"/>
          </p:cNvCxnSpPr>
          <p:nvPr/>
        </p:nvCxnSpPr>
        <p:spPr>
          <a:xfrm rot="5400000" flipH="1" flipV="1">
            <a:off x="2001837" y="4100513"/>
            <a:ext cx="936625" cy="1466850"/>
          </a:xfrm>
          <a:prstGeom prst="bentConnector2">
            <a:avLst/>
          </a:prstGeom>
          <a:ln w="28575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/>
          <p:nvPr/>
        </p:nvCxnSpPr>
        <p:spPr>
          <a:xfrm rot="16200000" flipV="1">
            <a:off x="3736975" y="4227513"/>
            <a:ext cx="2055813" cy="458787"/>
          </a:xfrm>
          <a:prstGeom prst="bentConnector3">
            <a:avLst/>
          </a:prstGeom>
          <a:ln w="28575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641" name="Rectangle 17"/>
          <p:cNvSpPr>
            <a:spLocks noChangeArrowheads="1"/>
          </p:cNvSpPr>
          <p:nvPr/>
        </p:nvSpPr>
        <p:spPr bwMode="auto">
          <a:xfrm>
            <a:off x="107950" y="1916113"/>
            <a:ext cx="28797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>
                <a:latin typeface="Calibri" pitchFamily="34" charset="0"/>
              </a:rPr>
              <a:t>EPM</a:t>
            </a:r>
          </a:p>
          <a:p>
            <a:pPr algn="ctr"/>
            <a:r>
              <a:rPr lang="en-US">
                <a:latin typeface="Calibri" pitchFamily="34" charset="0"/>
              </a:rPr>
              <a:t>90 PPM and lower costs</a:t>
            </a:r>
          </a:p>
        </p:txBody>
      </p:sp>
      <p:cxnSp>
        <p:nvCxnSpPr>
          <p:cNvPr id="22" name="Elbow Connector 21"/>
          <p:cNvCxnSpPr/>
          <p:nvPr/>
        </p:nvCxnSpPr>
        <p:spPr>
          <a:xfrm>
            <a:off x="1979613" y="2155825"/>
            <a:ext cx="1944687" cy="661988"/>
          </a:xfrm>
          <a:prstGeom prst="bentConnector3">
            <a:avLst/>
          </a:prstGeom>
          <a:ln w="28575"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ounded Rectangle 24"/>
          <p:cNvSpPr>
            <a:spLocks noChangeArrowheads="1"/>
          </p:cNvSpPr>
          <p:nvPr/>
        </p:nvSpPr>
        <p:spPr bwMode="auto">
          <a:xfrm>
            <a:off x="438150" y="2646363"/>
            <a:ext cx="2216150" cy="765175"/>
          </a:xfrm>
          <a:prstGeom prst="roundRect">
            <a:avLst>
              <a:gd name="adj" fmla="val 16667"/>
            </a:avLst>
          </a:prstGeom>
          <a:solidFill>
            <a:srgbClr val="00B0F0">
              <a:alpha val="25098"/>
            </a:srgbClr>
          </a:solidFill>
          <a:ln w="25400" algn="ctr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</a:pPr>
            <a:endParaRPr lang="hr-HR" sz="1600">
              <a:latin typeface="Futura Bk"/>
            </a:endParaRPr>
          </a:p>
        </p:txBody>
      </p:sp>
      <p:sp>
        <p:nvSpPr>
          <p:cNvPr id="30" name="Rounded Rectangle 29"/>
          <p:cNvSpPr>
            <a:spLocks noChangeArrowheads="1"/>
          </p:cNvSpPr>
          <p:nvPr/>
        </p:nvSpPr>
        <p:spPr bwMode="auto">
          <a:xfrm>
            <a:off x="449263" y="1871663"/>
            <a:ext cx="2216150" cy="766762"/>
          </a:xfrm>
          <a:prstGeom prst="roundRect">
            <a:avLst>
              <a:gd name="adj" fmla="val 16667"/>
            </a:avLst>
          </a:prstGeom>
          <a:solidFill>
            <a:srgbClr val="00B0F0">
              <a:alpha val="25098"/>
            </a:srgbClr>
          </a:solidFill>
          <a:ln w="25400" algn="ctr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</a:pPr>
            <a:endParaRPr lang="hr-HR" sz="1600">
              <a:latin typeface="Futura Bk"/>
            </a:endParaRPr>
          </a:p>
        </p:txBody>
      </p:sp>
      <p:sp>
        <p:nvSpPr>
          <p:cNvPr id="35" name="Rounded Rectangle 34"/>
          <p:cNvSpPr>
            <a:spLocks noChangeArrowheads="1"/>
          </p:cNvSpPr>
          <p:nvPr/>
        </p:nvSpPr>
        <p:spPr bwMode="auto">
          <a:xfrm>
            <a:off x="525463" y="5210175"/>
            <a:ext cx="2425700" cy="906463"/>
          </a:xfrm>
          <a:prstGeom prst="roundRect">
            <a:avLst>
              <a:gd name="adj" fmla="val 16667"/>
            </a:avLst>
          </a:prstGeom>
          <a:solidFill>
            <a:srgbClr val="00B0F0">
              <a:alpha val="25098"/>
            </a:srgbClr>
          </a:solidFill>
          <a:ln w="25400" algn="ctr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</a:pPr>
            <a:endParaRPr lang="hr-HR" sz="1600">
              <a:latin typeface="Futura Bk"/>
            </a:endParaRPr>
          </a:p>
        </p:txBody>
      </p:sp>
      <p:sp>
        <p:nvSpPr>
          <p:cNvPr id="36" name="Rounded Rectangle 35"/>
          <p:cNvSpPr>
            <a:spLocks noChangeArrowheads="1"/>
          </p:cNvSpPr>
          <p:nvPr/>
        </p:nvSpPr>
        <p:spPr bwMode="auto">
          <a:xfrm>
            <a:off x="3021013" y="5481638"/>
            <a:ext cx="2216150" cy="976312"/>
          </a:xfrm>
          <a:prstGeom prst="roundRect">
            <a:avLst>
              <a:gd name="adj" fmla="val 16667"/>
            </a:avLst>
          </a:prstGeom>
          <a:solidFill>
            <a:srgbClr val="00B0F0">
              <a:alpha val="25098"/>
            </a:srgbClr>
          </a:solidFill>
          <a:ln w="25400" algn="ctr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</a:pPr>
            <a:endParaRPr lang="hr-HR" sz="1600">
              <a:latin typeface="Futura Bk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5" grpId="1" animBg="1"/>
      <p:bldP spid="30" grpId="0" animBg="1"/>
      <p:bldP spid="30" grpId="1" animBg="1"/>
      <p:bldP spid="35" grpId="0" animBg="1"/>
      <p:bldP spid="35" grpId="1" animBg="1"/>
      <p:bldP spid="36" grpId="0" animBg="1"/>
      <p:bldP spid="36" grpId="1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681" name="Title 1"/>
          <p:cNvSpPr>
            <a:spLocks noGrp="1"/>
          </p:cNvSpPr>
          <p:nvPr>
            <p:ph type="title"/>
          </p:nvPr>
        </p:nvSpPr>
        <p:spPr>
          <a:xfrm>
            <a:off x="990600" y="238125"/>
            <a:ext cx="7188200" cy="523875"/>
          </a:xfrm>
        </p:spPr>
        <p:txBody>
          <a:bodyPr/>
          <a:lstStyle/>
          <a:p>
            <a:pPr algn="l"/>
            <a:r>
              <a:rPr lang="hr-HR" sz="3200" smtClean="0">
                <a:latin typeface="Futura"/>
              </a:rPr>
              <a:t>HP Indigo 5600 </a:t>
            </a:r>
            <a:r>
              <a:rPr lang="hr-HR" sz="2400" smtClean="0">
                <a:latin typeface="Futura"/>
              </a:rPr>
              <a:t>dodatne mogućnosti</a:t>
            </a:r>
            <a:endParaRPr lang="en-US" sz="2400" smtClean="0">
              <a:latin typeface="Futura"/>
            </a:endParaRPr>
          </a:p>
        </p:txBody>
      </p:sp>
      <p:pic>
        <p:nvPicPr>
          <p:cNvPr id="199682" name="Picture 85" descr="C:\Users\vaks\AppData\Local\Microsoft\Windows\Temporary Internet Files\Content.Outlook\YOIW1S3H\Inv ink - Copy.jpg"/>
          <p:cNvPicPr>
            <a:picLocks noChangeAspect="1" noChangeArrowheads="1"/>
          </p:cNvPicPr>
          <p:nvPr/>
        </p:nvPicPr>
        <p:blipFill>
          <a:blip r:embed="rId3"/>
          <a:srcRect r="18320" b="19627"/>
          <a:stretch>
            <a:fillRect/>
          </a:stretch>
        </p:blipFill>
        <p:spPr bwMode="auto">
          <a:xfrm>
            <a:off x="4035425" y="1619250"/>
            <a:ext cx="1971675" cy="1352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9683" name="Picture 6" descr="C:\Users\panush\Documents\Series 2\Kinneret\Photo\CMD\3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041775" y="3514725"/>
            <a:ext cx="1971675" cy="1265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9684" name="Picture 7" descr="C:\Users\panush\Documents\Series 2\Kinneret\Photo\CMD\6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079875" y="5245100"/>
            <a:ext cx="1954213" cy="133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9685" name="TextBox 35"/>
          <p:cNvSpPr txBox="1">
            <a:spLocks noChangeArrowheads="1"/>
          </p:cNvSpPr>
          <p:nvPr/>
        </p:nvSpPr>
        <p:spPr bwMode="auto">
          <a:xfrm>
            <a:off x="4086225" y="1006475"/>
            <a:ext cx="1773238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r-HR">
                <a:solidFill>
                  <a:srgbClr val="000000"/>
                </a:solidFill>
                <a:latin typeface="Calibri" pitchFamily="34" charset="0"/>
              </a:rPr>
              <a:t>Ulaznice </a:t>
            </a:r>
            <a:r>
              <a:rPr lang="en-US">
                <a:solidFill>
                  <a:srgbClr val="000000"/>
                </a:solidFill>
                <a:latin typeface="Calibri" pitchFamily="34" charset="0"/>
              </a:rPr>
              <a:t>Invisible ink</a:t>
            </a:r>
          </a:p>
        </p:txBody>
      </p:sp>
      <p:sp>
        <p:nvSpPr>
          <p:cNvPr id="199686" name="TextBox 49"/>
          <p:cNvSpPr txBox="1">
            <a:spLocks noChangeArrowheads="1"/>
          </p:cNvSpPr>
          <p:nvPr/>
        </p:nvSpPr>
        <p:spPr bwMode="auto">
          <a:xfrm>
            <a:off x="3810000" y="3135313"/>
            <a:ext cx="24384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r-HR">
                <a:solidFill>
                  <a:srgbClr val="000000"/>
                </a:solidFill>
                <a:latin typeface="Calibri" pitchFamily="34" charset="0"/>
              </a:rPr>
              <a:t>Tisak na crne materijale</a:t>
            </a:r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9687" name="TextBox 50"/>
          <p:cNvSpPr txBox="1">
            <a:spLocks noChangeArrowheads="1"/>
          </p:cNvSpPr>
          <p:nvPr/>
        </p:nvSpPr>
        <p:spPr bwMode="auto">
          <a:xfrm>
            <a:off x="3657600" y="4876800"/>
            <a:ext cx="28194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r-HR">
                <a:solidFill>
                  <a:srgbClr val="000000"/>
                </a:solidFill>
                <a:latin typeface="Calibri" pitchFamily="34" charset="0"/>
              </a:rPr>
              <a:t>Tisak na prozirne materijale</a:t>
            </a:r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199688" name="Picture 15" descr="http://www.spbclub.com/wallet/3da99511c7f647ebd39fa28f00b49e7b_img_El-Al-King-David-Frequent-Flyer-Club-Gold-Card.gif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545263" y="1566863"/>
            <a:ext cx="2136775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41" name="Picture 17" descr="http://www.industry.org.il/_Uploads/dbsAttachedFiles/nispah7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540500" y="3365500"/>
            <a:ext cx="2189163" cy="1389063"/>
          </a:xfrm>
          <a:prstGeom prst="rect">
            <a:avLst/>
          </a:prstGeom>
          <a:noFill/>
        </p:spPr>
      </p:pic>
      <p:sp>
        <p:nvSpPr>
          <p:cNvPr id="199690" name="TextBox 55"/>
          <p:cNvSpPr txBox="1">
            <a:spLocks noChangeArrowheads="1"/>
          </p:cNvSpPr>
          <p:nvPr/>
        </p:nvSpPr>
        <p:spPr bwMode="auto">
          <a:xfrm>
            <a:off x="6545263" y="1150938"/>
            <a:ext cx="2141537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r-HR">
                <a:solidFill>
                  <a:srgbClr val="000000"/>
                </a:solidFill>
                <a:latin typeface="Calibri" pitchFamily="34" charset="0"/>
              </a:rPr>
              <a:t>Kartice lojalnosti</a:t>
            </a:r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9691" name="TextBox 56"/>
          <p:cNvSpPr txBox="1">
            <a:spLocks noChangeArrowheads="1"/>
          </p:cNvSpPr>
          <p:nvPr/>
        </p:nvSpPr>
        <p:spPr bwMode="auto">
          <a:xfrm>
            <a:off x="6402388" y="4832350"/>
            <a:ext cx="2436812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r-HR">
                <a:solidFill>
                  <a:srgbClr val="000000"/>
                </a:solidFill>
                <a:latin typeface="Calibri" pitchFamily="34" charset="0"/>
              </a:rPr>
              <a:t>Identifikacijske kartice</a:t>
            </a:r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9692" name="TextBox 57"/>
          <p:cNvSpPr txBox="1">
            <a:spLocks noChangeArrowheads="1"/>
          </p:cNvSpPr>
          <p:nvPr/>
        </p:nvSpPr>
        <p:spPr bwMode="auto">
          <a:xfrm>
            <a:off x="6581775" y="3009900"/>
            <a:ext cx="214153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r-HR">
                <a:solidFill>
                  <a:srgbClr val="000000"/>
                </a:solidFill>
                <a:latin typeface="Calibri" pitchFamily="34" charset="0"/>
              </a:rPr>
              <a:t>Poklon kartice</a:t>
            </a:r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9693" name="TextBox 18"/>
          <p:cNvSpPr txBox="1">
            <a:spLocks noChangeArrowheads="1"/>
          </p:cNvSpPr>
          <p:nvPr/>
        </p:nvSpPr>
        <p:spPr bwMode="auto">
          <a:xfrm>
            <a:off x="1090613" y="1185863"/>
            <a:ext cx="2081212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r-HR">
                <a:solidFill>
                  <a:srgbClr val="000000"/>
                </a:solidFill>
                <a:latin typeface="Calibri" pitchFamily="34" charset="0"/>
              </a:rPr>
              <a:t>Kartoni</a:t>
            </a:r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9694" name="TextBox 20"/>
          <p:cNvSpPr txBox="1">
            <a:spLocks noChangeArrowheads="1"/>
          </p:cNvSpPr>
          <p:nvPr/>
        </p:nvSpPr>
        <p:spPr bwMode="auto">
          <a:xfrm>
            <a:off x="1022350" y="3049588"/>
            <a:ext cx="2081213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>
                <a:solidFill>
                  <a:srgbClr val="000000"/>
                </a:solidFill>
                <a:latin typeface="Calibri" pitchFamily="34" charset="0"/>
              </a:rPr>
              <a:t>POP/promo</a:t>
            </a:r>
          </a:p>
        </p:txBody>
      </p:sp>
      <p:sp>
        <p:nvSpPr>
          <p:cNvPr id="199695" name="TextBox 21"/>
          <p:cNvSpPr txBox="1">
            <a:spLocks noChangeArrowheads="1"/>
          </p:cNvSpPr>
          <p:nvPr/>
        </p:nvSpPr>
        <p:spPr bwMode="auto">
          <a:xfrm>
            <a:off x="458788" y="4972050"/>
            <a:ext cx="34067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>
                <a:solidFill>
                  <a:srgbClr val="000000"/>
                </a:solidFill>
                <a:latin typeface="Calibri" pitchFamily="34" charset="0"/>
              </a:rPr>
              <a:t>Overlays/Membrane switches</a:t>
            </a:r>
          </a:p>
        </p:txBody>
      </p:sp>
      <p:pic>
        <p:nvPicPr>
          <p:cNvPr id="199696" name="Picture 4" descr="UK tirip aug 2005 01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166813" y="3424238"/>
            <a:ext cx="2017712" cy="151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9697" name="Picture 2" descr="DSCN23751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173163" y="5316538"/>
            <a:ext cx="2043112" cy="1365250"/>
          </a:xfrm>
          <a:prstGeom prst="rect">
            <a:avLst/>
          </a:prstGeom>
          <a:noFill/>
          <a:ln w="1587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199698" name="Picture 6" descr="uv card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534150" y="5148263"/>
            <a:ext cx="2139950" cy="139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9699" name="Picture 3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gray">
          <a:xfrm>
            <a:off x="1108075" y="1652588"/>
            <a:ext cx="2081213" cy="1327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00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2" name="think-cell Slide" r:id="rId15" imgW="360" imgH="360" progId="">
              <p:embed/>
            </p:oleObj>
          </a:graphicData>
        </a:graphic>
      </p:graphicFrame>
      <p:sp>
        <p:nvSpPr>
          <p:cNvPr id="9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396875" y="265113"/>
            <a:ext cx="6064250" cy="493712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hr-HR" sz="3200" dirty="0" smtClean="0">
                <a:solidFill>
                  <a:prstClr val="black"/>
                </a:solidFill>
                <a:cs typeface="Arial" pitchFamily="34" charset="0"/>
              </a:rPr>
              <a:t>Tisak na sintetičke materijale</a:t>
            </a:r>
            <a:endParaRPr lang="en-US" sz="32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8004" name="Action Button: Custom 18">
            <a:hlinkClick r:id="" action="ppaction://noaction" highlightClick="1"/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340725" y="0"/>
            <a:ext cx="803275" cy="339725"/>
          </a:xfrm>
          <a:prstGeom prst="actionButtonBlank">
            <a:avLst/>
          </a:prstGeom>
          <a:noFill/>
          <a:ln w="19050" algn="ctr">
            <a:noFill/>
            <a:round/>
            <a:headEnd/>
            <a:tailEnd/>
          </a:ln>
        </p:spPr>
        <p:txBody>
          <a:bodyPr/>
          <a:lstStyle/>
          <a:p>
            <a:endParaRPr lang="hr-H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28005" name="Text Box 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96875" y="3810000"/>
            <a:ext cx="8361363" cy="279876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342900" indent="-342900">
              <a:buFont typeface="Arial" charset="0"/>
              <a:buChar char="•"/>
            </a:pPr>
            <a:r>
              <a:rPr lang="hr-HR" sz="2000">
                <a:solidFill>
                  <a:srgbClr val="000000"/>
                </a:solidFill>
                <a:latin typeface="Futura Bk"/>
              </a:rPr>
              <a:t>Aplikacije na </a:t>
            </a:r>
            <a:r>
              <a:rPr lang="en-US" sz="2000">
                <a:solidFill>
                  <a:srgbClr val="000000"/>
                </a:solidFill>
                <a:latin typeface="Futura Bk"/>
              </a:rPr>
              <a:t>PVC, PET, Teslin</a:t>
            </a:r>
            <a:r>
              <a:rPr lang="en-US" sz="2000" baseline="30000">
                <a:solidFill>
                  <a:srgbClr val="000000"/>
                </a:solidFill>
                <a:latin typeface="Futura Bk"/>
              </a:rPr>
              <a:t>®</a:t>
            </a:r>
            <a:r>
              <a:rPr lang="en-US" sz="2000">
                <a:solidFill>
                  <a:srgbClr val="000000"/>
                </a:solidFill>
                <a:latin typeface="Futura Bk"/>
              </a:rPr>
              <a:t>, PC </a:t>
            </a:r>
            <a:r>
              <a:rPr lang="hr-HR" sz="2000">
                <a:solidFill>
                  <a:srgbClr val="000000"/>
                </a:solidFill>
                <a:latin typeface="Futura Bk"/>
              </a:rPr>
              <a:t>itd</a:t>
            </a:r>
            <a:r>
              <a:rPr lang="en-US" sz="2000">
                <a:solidFill>
                  <a:srgbClr val="000000"/>
                </a:solidFill>
                <a:latin typeface="Futura Bk"/>
              </a:rPr>
              <a:t>.:</a:t>
            </a:r>
          </a:p>
          <a:p>
            <a:pPr marL="800100" lvl="1" indent="-342900">
              <a:lnSpc>
                <a:spcPct val="90000"/>
              </a:lnSpc>
              <a:buFont typeface="Wingdings" pitchFamily="2" charset="2"/>
              <a:buChar char="ü"/>
            </a:pPr>
            <a:endParaRPr lang="en-US">
              <a:solidFill>
                <a:srgbClr val="000000"/>
              </a:solidFill>
              <a:latin typeface="Futura Bk"/>
            </a:endParaRPr>
          </a:p>
          <a:p>
            <a:pPr marL="800100" lvl="1" indent="-342900">
              <a:lnSpc>
                <a:spcPct val="90000"/>
              </a:lnSpc>
              <a:buFont typeface="Wingdings" pitchFamily="2" charset="2"/>
              <a:buChar char="ü"/>
            </a:pPr>
            <a:r>
              <a:rPr lang="hr-HR">
                <a:solidFill>
                  <a:srgbClr val="000000"/>
                </a:solidFill>
                <a:latin typeface="Futura Bk"/>
              </a:rPr>
              <a:t>Plastične kartice</a:t>
            </a:r>
          </a:p>
          <a:p>
            <a:pPr marL="800100" lvl="1" indent="-342900">
              <a:lnSpc>
                <a:spcPct val="90000"/>
              </a:lnSpc>
              <a:buFont typeface="Wingdings" pitchFamily="2" charset="2"/>
              <a:buChar char="ü"/>
            </a:pPr>
            <a:r>
              <a:rPr lang="hr-HR">
                <a:solidFill>
                  <a:srgbClr val="000000"/>
                </a:solidFill>
                <a:latin typeface="Futura Bk"/>
              </a:rPr>
              <a:t>Ulaznice</a:t>
            </a:r>
            <a:endParaRPr lang="en-US">
              <a:solidFill>
                <a:srgbClr val="000000"/>
              </a:solidFill>
              <a:latin typeface="Futura Bk"/>
            </a:endParaRPr>
          </a:p>
          <a:p>
            <a:pPr marL="800100" lvl="1" indent="-342900">
              <a:lnSpc>
                <a:spcPct val="90000"/>
              </a:lnSpc>
              <a:buFont typeface="Wingdings" pitchFamily="2" charset="2"/>
              <a:buChar char="ü"/>
            </a:pPr>
            <a:r>
              <a:rPr lang="hr-HR">
                <a:solidFill>
                  <a:srgbClr val="000000"/>
                </a:solidFill>
                <a:latin typeface="Futura Bk"/>
              </a:rPr>
              <a:t>Podloge za miša</a:t>
            </a:r>
            <a:endParaRPr lang="en-US">
              <a:solidFill>
                <a:srgbClr val="000000"/>
              </a:solidFill>
              <a:latin typeface="Futura Bk"/>
            </a:endParaRPr>
          </a:p>
          <a:p>
            <a:pPr marL="800100" lvl="1" indent="-342900">
              <a:lnSpc>
                <a:spcPct val="90000"/>
              </a:lnSpc>
              <a:buFont typeface="Wingdings" pitchFamily="2" charset="2"/>
              <a:buChar char="ü"/>
            </a:pPr>
            <a:r>
              <a:rPr lang="hr-HR">
                <a:solidFill>
                  <a:srgbClr val="000000"/>
                </a:solidFill>
                <a:latin typeface="Futura Bk"/>
              </a:rPr>
              <a:t>Wobleri</a:t>
            </a:r>
            <a:endParaRPr lang="en-US">
              <a:solidFill>
                <a:srgbClr val="000000"/>
              </a:solidFill>
              <a:latin typeface="Futura Bk"/>
            </a:endParaRPr>
          </a:p>
          <a:p>
            <a:pPr marL="800100" lvl="1" indent="-342900">
              <a:lnSpc>
                <a:spcPct val="90000"/>
              </a:lnSpc>
              <a:buFont typeface="Wingdings" pitchFamily="2" charset="2"/>
              <a:buChar char="ü"/>
            </a:pPr>
            <a:r>
              <a:rPr lang="hr-HR">
                <a:solidFill>
                  <a:srgbClr val="000000"/>
                </a:solidFill>
                <a:latin typeface="Futura Bk"/>
              </a:rPr>
              <a:t>itd</a:t>
            </a:r>
            <a:r>
              <a:rPr lang="en-US">
                <a:solidFill>
                  <a:srgbClr val="000000"/>
                </a:solidFill>
                <a:latin typeface="Futura Bk"/>
              </a:rPr>
              <a:t>…</a:t>
            </a:r>
          </a:p>
        </p:txBody>
      </p:sp>
      <p:pic>
        <p:nvPicPr>
          <p:cNvPr id="128006" name="Picture 3" descr="http://www.amctheatres.com/uploadedImages/Gift_Cards_and_Merchandise/Gift%20Cards%20and%20Merch_Personalizedgiftcard.jpg?n=3792">
            <a:hlinkClick r:id="rId16" action="ppaction://hlinksldjump"/>
          </p:cNvPr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7"/>
          <a:srcRect/>
          <a:stretch>
            <a:fillRect/>
          </a:stretch>
        </p:blipFill>
        <p:spPr bwMode="auto">
          <a:xfrm>
            <a:off x="3844925" y="4422775"/>
            <a:ext cx="104616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07" name="Picture 5" descr="http://www.covealliance.org/images/GiftCards.jp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3690938" y="5121275"/>
            <a:ext cx="1571625" cy="142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08" name="Picture 20" descr="http://wodumedia.com/wp-content/uploads/Wodu-Media-Transparent-Plastic-Business-Card-528x386.jp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9"/>
          <a:srcRect/>
          <a:stretch>
            <a:fillRect/>
          </a:stretch>
        </p:blipFill>
        <p:spPr bwMode="auto">
          <a:xfrm>
            <a:off x="5699125" y="5692775"/>
            <a:ext cx="1027113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09" name="Picture 11" descr="http://www.treehugger.com/ibm-eink-shelf.jp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5811838" y="4471988"/>
            <a:ext cx="914400" cy="68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10" name="Picture 9" descr="http://www.caseymoosmann.com/tops/imagery_middle/shelf_tags_individuals.gif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1"/>
          <a:srcRect/>
          <a:stretch>
            <a:fillRect/>
          </a:stretch>
        </p:blipFill>
        <p:spPr bwMode="auto">
          <a:xfrm>
            <a:off x="5529263" y="4737100"/>
            <a:ext cx="646112" cy="65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11" name="Picture 5" descr="http://fotoregalos.com/prensa/enamorados/Mouse-Pad_Enamorados.png"/>
          <p:cNvPicPr>
            <a:picLocks noChangeAspect="1" noChangeArrowheads="1"/>
          </p:cNvPicPr>
          <p:nvPr/>
        </p:nvPicPr>
        <p:blipFill>
          <a:blip r:embed="rId22"/>
          <a:srcRect/>
          <a:stretch>
            <a:fillRect/>
          </a:stretch>
        </p:blipFill>
        <p:spPr bwMode="auto">
          <a:xfrm>
            <a:off x="6915150" y="4633913"/>
            <a:ext cx="1108075" cy="665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12" name="Picture 7" descr="http://yspcom.yspimages.net/images/cadeau/41002/20414-df7a32-placemat-large-big.jpg"/>
          <p:cNvPicPr>
            <a:picLocks noChangeAspect="1" noChangeArrowheads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>
            <a:off x="7186613" y="5603875"/>
            <a:ext cx="1366837" cy="927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13" name="Picture 5" descr="http://www.serigraphic-screen.com/overlay_printing/overlay_printing.jp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4"/>
          <a:srcRect/>
          <a:stretch>
            <a:fillRect/>
          </a:stretch>
        </p:blipFill>
        <p:spPr bwMode="auto">
          <a:xfrm>
            <a:off x="8061325" y="4471988"/>
            <a:ext cx="696913" cy="1076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8014" name="Text Box 6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514600" y="1162050"/>
            <a:ext cx="6043613" cy="912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/>
          <a:lstStyle/>
          <a:p>
            <a:r>
              <a:rPr lang="hr-HR">
                <a:solidFill>
                  <a:srgbClr val="000000"/>
                </a:solidFill>
                <a:latin typeface="Futura Bk"/>
              </a:rPr>
              <a:t>Visoko kvalitetan tisak na sintetičke materijale koristeći </a:t>
            </a:r>
            <a:r>
              <a:rPr lang="en-US">
                <a:solidFill>
                  <a:srgbClr val="000000"/>
                </a:solidFill>
                <a:latin typeface="Futura Bk"/>
              </a:rPr>
              <a:t>HP Indigo One-shot proces</a:t>
            </a:r>
          </a:p>
        </p:txBody>
      </p:sp>
      <p:sp>
        <p:nvSpPr>
          <p:cNvPr id="128015" name="Text Box 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503488" y="1997075"/>
            <a:ext cx="6640512" cy="1595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/>
          <a:lstStyle/>
          <a:p>
            <a:r>
              <a:rPr lang="en-US">
                <a:solidFill>
                  <a:srgbClr val="000000"/>
                </a:solidFill>
                <a:latin typeface="Futura Bk"/>
              </a:rPr>
              <a:t>One shot proces – </a:t>
            </a:r>
            <a:r>
              <a:rPr lang="hr-HR">
                <a:solidFill>
                  <a:srgbClr val="000000"/>
                </a:solidFill>
                <a:latin typeface="Futura Bk"/>
              </a:rPr>
              <a:t>prijenos svih kolornih separacija odjednom na tiskovnu podlogu</a:t>
            </a:r>
            <a:endParaRPr lang="en-US">
              <a:solidFill>
                <a:srgbClr val="000000"/>
              </a:solidFill>
              <a:latin typeface="Futura Bk"/>
            </a:endParaRPr>
          </a:p>
          <a:p>
            <a:pPr marL="742950" lvl="1" indent="-285750">
              <a:lnSpc>
                <a:spcPct val="80000"/>
              </a:lnSpc>
              <a:buFont typeface="Arial" charset="0"/>
              <a:buChar char="•"/>
            </a:pPr>
            <a:r>
              <a:rPr lang="hr-HR">
                <a:solidFill>
                  <a:srgbClr val="000000"/>
                </a:solidFill>
                <a:latin typeface="Futura Bk"/>
              </a:rPr>
              <a:t>Minimaliziranje deformacija materijala</a:t>
            </a:r>
            <a:endParaRPr lang="en-US">
              <a:solidFill>
                <a:srgbClr val="000000"/>
              </a:solidFill>
              <a:latin typeface="Futura Bk"/>
            </a:endParaRPr>
          </a:p>
          <a:p>
            <a:pPr marL="742950" lvl="1" indent="-285750">
              <a:lnSpc>
                <a:spcPct val="80000"/>
              </a:lnSpc>
              <a:buFont typeface="Arial" charset="0"/>
              <a:buChar char="•"/>
            </a:pPr>
            <a:r>
              <a:rPr lang="hr-HR">
                <a:solidFill>
                  <a:srgbClr val="000000"/>
                </a:solidFill>
                <a:latin typeface="Futura Bk"/>
              </a:rPr>
              <a:t>Precizan registar</a:t>
            </a:r>
            <a:endParaRPr lang="en-US">
              <a:solidFill>
                <a:srgbClr val="000000"/>
              </a:solidFill>
              <a:latin typeface="Futura Bk"/>
            </a:endParaRPr>
          </a:p>
        </p:txBody>
      </p:sp>
      <p:pic>
        <p:nvPicPr>
          <p:cNvPr id="128016" name="Picture 3" descr="schematic"/>
          <p:cNvPicPr>
            <a:picLocks noChangeAspect="1" noChangeArrowheads="1"/>
          </p:cNvPicPr>
          <p:nvPr/>
        </p:nvPicPr>
        <p:blipFill>
          <a:blip r:embed="rId25"/>
          <a:srcRect/>
          <a:stretch>
            <a:fillRect/>
          </a:stretch>
        </p:blipFill>
        <p:spPr bwMode="auto">
          <a:xfrm>
            <a:off x="268288" y="1155700"/>
            <a:ext cx="1919287" cy="208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17" name="Picture 6" descr="Inv2"/>
          <p:cNvPicPr>
            <a:picLocks noChangeAspect="1" noChangeArrowheads="1"/>
          </p:cNvPicPr>
          <p:nvPr/>
        </p:nvPicPr>
        <p:blipFill>
          <a:blip r:embed="rId26"/>
          <a:srcRect/>
          <a:stretch>
            <a:fillRect/>
          </a:stretch>
        </p:blipFill>
        <p:spPr bwMode="auto">
          <a:xfrm>
            <a:off x="7175500" y="3276600"/>
            <a:ext cx="1663700" cy="102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18" name="Picture 5" descr="Inv1"/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5408613" y="3276600"/>
            <a:ext cx="1677987" cy="1076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19" name="Picture 4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 rot="1605921">
            <a:off x="7313613" y="2187575"/>
            <a:ext cx="801687" cy="120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28613" y="257175"/>
            <a:ext cx="7223125" cy="2674938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HP Indigo 7600 Digital Press</a:t>
            </a:r>
            <a:endParaRPr lang="en-US" dirty="0"/>
          </a:p>
        </p:txBody>
      </p:sp>
      <p:pic>
        <p:nvPicPr>
          <p:cNvPr id="203778" name="Picture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57200" y="1752600"/>
            <a:ext cx="6818313" cy="402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2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7522" name="think-cell Slide" r:id="rId6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defRPr/>
            </a:pPr>
            <a:endParaRPr lang="en-US">
              <a:latin typeface="Futura Bk"/>
              <a:sym typeface="Futura Bk"/>
            </a:endParaRPr>
          </a:p>
        </p:txBody>
      </p:sp>
      <p:sp>
        <p:nvSpPr>
          <p:cNvPr id="107524" name="Title 2"/>
          <p:cNvSpPr>
            <a:spLocks noGrp="1"/>
          </p:cNvSpPr>
          <p:nvPr>
            <p:ph type="title"/>
          </p:nvPr>
        </p:nvSpPr>
        <p:spPr>
          <a:xfrm>
            <a:off x="165100" y="266700"/>
            <a:ext cx="8623300" cy="984250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es-ES_tradnl" sz="3600" b="1" smtClean="0">
                <a:latin typeface="Futura Bk"/>
              </a:rPr>
              <a:t>HP Indigo 7600</a:t>
            </a:r>
            <a:endParaRPr lang="en-US" sz="3600" b="1" smtClean="0">
              <a:latin typeface="Futura Bk"/>
            </a:endParaRPr>
          </a:p>
        </p:txBody>
      </p:sp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82575" y="1049338"/>
            <a:ext cx="3113088" cy="2220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  <p:sp>
        <p:nvSpPr>
          <p:cNvPr id="107526" name="Rectangle 42"/>
          <p:cNvSpPr>
            <a:spLocks noChangeArrowheads="1"/>
          </p:cNvSpPr>
          <p:nvPr/>
        </p:nvSpPr>
        <p:spPr bwMode="auto">
          <a:xfrm>
            <a:off x="3884613" y="1366838"/>
            <a:ext cx="520065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3600">
                <a:latin typeface="Futura"/>
              </a:rPr>
              <a:t>Textured Effects</a:t>
            </a:r>
          </a:p>
          <a:p>
            <a:r>
              <a:rPr lang="hr-HR" sz="2400">
                <a:latin typeface="Futura"/>
              </a:rPr>
              <a:t>– slijepi tisak na digitalnom stroju</a:t>
            </a:r>
            <a:endParaRPr lang="en-US" sz="2400">
              <a:latin typeface="Futura"/>
            </a:endParaRPr>
          </a:p>
        </p:txBody>
      </p:sp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85750" y="3998913"/>
            <a:ext cx="3067050" cy="2097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  <p:sp>
        <p:nvSpPr>
          <p:cNvPr id="107528" name="Rectangle 9"/>
          <p:cNvSpPr>
            <a:spLocks noChangeArrowheads="1"/>
          </p:cNvSpPr>
          <p:nvPr/>
        </p:nvSpPr>
        <p:spPr bwMode="auto">
          <a:xfrm>
            <a:off x="3943350" y="4114800"/>
            <a:ext cx="5200650" cy="175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3600">
                <a:latin typeface="Futura"/>
              </a:rPr>
              <a:t>Raised Print</a:t>
            </a:r>
          </a:p>
          <a:p>
            <a:r>
              <a:rPr lang="hr-HR" sz="2400">
                <a:latin typeface="Futura"/>
              </a:rPr>
              <a:t>– tisak transparentnom bojom u nekoliko slojeva</a:t>
            </a:r>
          </a:p>
          <a:p>
            <a:r>
              <a:rPr lang="hr-HR" sz="2400">
                <a:latin typeface="Futura"/>
              </a:rPr>
              <a:t>– efekt sličan termografiji</a:t>
            </a:r>
            <a:endParaRPr lang="en-US" sz="2400">
              <a:latin typeface="Futur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Rectangle 4"/>
          <p:cNvGrpSpPr>
            <a:grpSpLocks/>
          </p:cNvGrpSpPr>
          <p:nvPr/>
        </p:nvGrpSpPr>
        <p:grpSpPr bwMode="auto">
          <a:xfrm>
            <a:off x="-6350" y="1597025"/>
            <a:ext cx="8291513" cy="5053013"/>
            <a:chOff x="-4" y="1006"/>
            <a:chExt cx="5223" cy="3183"/>
          </a:xfrm>
        </p:grpSpPr>
        <p:pic>
          <p:nvPicPr>
            <p:cNvPr id="111617" name="Rectangle 4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-4" y="1006"/>
              <a:ext cx="5223" cy="3183"/>
            </a:xfrm>
            <a:prstGeom prst="rect">
              <a:avLst/>
            </a:prstGeom>
            <a:noFill/>
          </p:spPr>
        </p:pic>
        <p:sp>
          <p:nvSpPr>
            <p:cNvPr id="111618" name="Text Box 2"/>
            <p:cNvSpPr txBox="1">
              <a:spLocks noChangeArrowheads="1"/>
            </p:cNvSpPr>
            <p:nvPr/>
          </p:nvSpPr>
          <p:spPr bwMode="auto">
            <a:xfrm>
              <a:off x="0" y="1008"/>
              <a:ext cx="5213" cy="31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/>
              <a:endParaRPr lang="hr-HR">
                <a:latin typeface="Calibri" pitchFamily="34" charset="0"/>
                <a:ea typeface="ＭＳ Ｐゴシック"/>
                <a:cs typeface="Arial" charset="0"/>
              </a:endParaRPr>
            </a:p>
          </p:txBody>
        </p:sp>
      </p:grpSp>
      <p:pic>
        <p:nvPicPr>
          <p:cNvPr id="111620" name="Picture 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2686050" y="1601788"/>
            <a:ext cx="5576888" cy="5256212"/>
          </a:xfrm>
          <a:prstGeom prst="rect">
            <a:avLst/>
          </a:prstGeom>
          <a:noFill/>
          <a:ln w="25400">
            <a:noFill/>
            <a:miter lim="800000"/>
            <a:headEnd/>
            <a:tailEnd type="none" w="lg" len="sm"/>
          </a:ln>
        </p:spPr>
      </p:pic>
      <p:sp>
        <p:nvSpPr>
          <p:cNvPr id="111621" name="TextBox 5"/>
          <p:cNvSpPr txBox="1">
            <a:spLocks noChangeArrowheads="1"/>
          </p:cNvSpPr>
          <p:nvPr/>
        </p:nvSpPr>
        <p:spPr bwMode="auto">
          <a:xfrm>
            <a:off x="1417638" y="3657600"/>
            <a:ext cx="108585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400">
                <a:solidFill>
                  <a:schemeClr val="bg1"/>
                </a:solidFill>
                <a:latin typeface="Calibri" pitchFamily="34" charset="0"/>
                <a:ea typeface="ＭＳ Ｐゴシック"/>
                <a:cs typeface="ＭＳ Ｐゴシック"/>
              </a:rPr>
              <a:t>CMYK</a:t>
            </a: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773113" y="333375"/>
            <a:ext cx="7989887" cy="1190625"/>
          </a:xfrm>
          <a:prstGeom prst="rect">
            <a:avLst/>
          </a:prstGeom>
        </p:spPr>
        <p:txBody>
          <a:bodyPr/>
          <a:lstStyle/>
          <a:p>
            <a:pPr fontAlgn="auto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hr-HR" sz="3600" b="1" dirty="0">
                <a:latin typeface="Futura"/>
              </a:rPr>
              <a:t>Svijet boja </a:t>
            </a:r>
            <a:r>
              <a:rPr lang="en-US" sz="3600" b="1" dirty="0">
                <a:latin typeface="Futura"/>
              </a:rPr>
              <a:t>HP Indigo</a:t>
            </a:r>
            <a:endParaRPr lang="en-US" sz="3600" b="1" i="1" dirty="0">
              <a:latin typeface="Futura"/>
              <a:ea typeface="+mj-ea"/>
              <a:cs typeface="+mj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570" name="AutoShape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9570" name="think-cell Slide" r:id="rId6" imgW="0" imgH="0" progId="">
              <p:embed/>
            </p:oleObj>
          </a:graphicData>
        </a:graphic>
      </p:graphicFrame>
      <p:sp>
        <p:nvSpPr>
          <p:cNvPr id="109571" name="Rectangle 9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9050" algn="ctr">
            <a:noFill/>
            <a:round/>
            <a:headEnd/>
            <a:tailEnd/>
          </a:ln>
        </p:spPr>
        <p:txBody>
          <a:bodyPr wrap="none" lIns="0" tIns="0" rIns="0" bIns="0"/>
          <a:lstStyle/>
          <a:p>
            <a:pPr>
              <a:lnSpc>
                <a:spcPct val="90000"/>
              </a:lnSpc>
            </a:pPr>
            <a:endParaRPr lang="hr-HR" sz="1600" b="1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109572" name="Title 1"/>
          <p:cNvSpPr>
            <a:spLocks noGrp="1"/>
          </p:cNvSpPr>
          <p:nvPr>
            <p:ph type="title"/>
          </p:nvPr>
        </p:nvSpPr>
        <p:spPr>
          <a:xfrm>
            <a:off x="331788" y="395288"/>
            <a:ext cx="8007350" cy="862012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nl-BE" sz="3600" smtClean="0">
                <a:latin typeface="Futura Bk"/>
              </a:rPr>
              <a:t>HP Indigo Commercial Portfolio </a:t>
            </a:r>
            <a:br>
              <a:rPr lang="nl-BE" sz="3600" smtClean="0">
                <a:latin typeface="Futura Bk"/>
              </a:rPr>
            </a:br>
            <a:r>
              <a:rPr lang="nl-BE" sz="2000" smtClean="0">
                <a:latin typeface="Futura Bk"/>
              </a:rPr>
              <a:t>Counters mapping summary</a:t>
            </a:r>
            <a:endParaRPr lang="en-US" sz="2000" smtClean="0">
              <a:latin typeface="Futura Bk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107950" y="1520825"/>
          <a:ext cx="8928100" cy="507682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764196"/>
                <a:gridCol w="1023542"/>
                <a:gridCol w="1023542"/>
                <a:gridCol w="1023542"/>
                <a:gridCol w="1023542"/>
                <a:gridCol w="1023542"/>
                <a:gridCol w="1023542"/>
                <a:gridCol w="1023542"/>
              </a:tblGrid>
              <a:tr h="846094">
                <a:tc>
                  <a:txBody>
                    <a:bodyPr/>
                    <a:lstStyle/>
                    <a:p>
                      <a:pPr algn="ctr"/>
                      <a:r>
                        <a:rPr lang="es-ES_tradnl" dirty="0" smtClean="0"/>
                        <a:t>Press </a:t>
                      </a:r>
                      <a:r>
                        <a:rPr lang="es-ES_tradnl" dirty="0" err="1" smtClean="0"/>
                        <a:t>Model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400" dirty="0" smtClean="0"/>
                        <a:t>1c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400" dirty="0" smtClean="0"/>
                        <a:t>2c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400" dirty="0" err="1" smtClean="0"/>
                        <a:t>Multi</a:t>
                      </a:r>
                      <a:r>
                        <a:rPr lang="es-ES_tradnl" sz="1400" dirty="0" smtClean="0"/>
                        <a:t> Color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400" dirty="0" smtClean="0"/>
                        <a:t>EPM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400" dirty="0" err="1" smtClean="0"/>
                        <a:t>One</a:t>
                      </a:r>
                      <a:r>
                        <a:rPr lang="es-ES_tradnl" sz="1400" dirty="0" smtClean="0"/>
                        <a:t> </a:t>
                      </a:r>
                      <a:r>
                        <a:rPr lang="es-ES_tradnl" sz="1400" dirty="0" err="1" smtClean="0"/>
                        <a:t>Shot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400" dirty="0" err="1" smtClean="0"/>
                        <a:t>Textured</a:t>
                      </a:r>
                      <a:r>
                        <a:rPr lang="es-ES_tradnl" sz="1400" dirty="0" smtClean="0"/>
                        <a:t> </a:t>
                      </a:r>
                      <a:r>
                        <a:rPr lang="es-ES_tradnl" sz="1400" dirty="0" err="1" smtClean="0"/>
                        <a:t>Effect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400" dirty="0" err="1" smtClean="0"/>
                        <a:t>Raised</a:t>
                      </a:r>
                      <a:r>
                        <a:rPr lang="es-ES_tradnl" sz="1400" dirty="0" smtClean="0"/>
                        <a:t> </a:t>
                      </a:r>
                      <a:r>
                        <a:rPr lang="es-ES_tradnl" sz="1400" dirty="0" err="1" smtClean="0"/>
                        <a:t>Print</a:t>
                      </a:r>
                      <a:endParaRPr lang="en-US" sz="1400" dirty="0"/>
                    </a:p>
                  </a:txBody>
                  <a:tcPr anchor="ctr"/>
                </a:tc>
              </a:tr>
              <a:tr h="846094">
                <a:tc>
                  <a:txBody>
                    <a:bodyPr/>
                    <a:lstStyle/>
                    <a:p>
                      <a:pPr algn="ctr"/>
                      <a:r>
                        <a:rPr lang="es-ES_tradnl" sz="1050" dirty="0" smtClean="0"/>
                        <a:t>HP Indigo 10000 </a:t>
                      </a:r>
                      <a:endParaRPr lang="en-US" sz="10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846094">
                <a:tc>
                  <a:txBody>
                    <a:bodyPr/>
                    <a:lstStyle/>
                    <a:p>
                      <a:pPr algn="ctr"/>
                      <a:r>
                        <a:rPr lang="es-ES_tradnl" sz="1050" dirty="0" smtClean="0"/>
                        <a:t>HP Indigo W72500/W7200 (*)</a:t>
                      </a:r>
                      <a:endParaRPr lang="en-US" sz="10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846094">
                <a:tc>
                  <a:txBody>
                    <a:bodyPr/>
                    <a:lstStyle/>
                    <a:p>
                      <a:pPr algn="ctr"/>
                      <a:r>
                        <a:rPr lang="es-ES_tradnl" sz="1050" dirty="0" smtClean="0"/>
                        <a:t>HP Indigo 7600/7500 (*)</a:t>
                      </a:r>
                      <a:endParaRPr lang="en-US" sz="10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846094">
                <a:tc>
                  <a:txBody>
                    <a:bodyPr/>
                    <a:lstStyle/>
                    <a:p>
                      <a:pPr algn="ctr"/>
                      <a:r>
                        <a:rPr lang="es-ES_tradnl" sz="1050" dirty="0" smtClean="0"/>
                        <a:t>HP Indigo 5600/5500</a:t>
                      </a:r>
                      <a:r>
                        <a:rPr lang="es-ES_tradnl" sz="1050" baseline="0" dirty="0" smtClean="0"/>
                        <a:t> (*)</a:t>
                      </a:r>
                      <a:endParaRPr lang="en-US" sz="10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846094">
                <a:tc>
                  <a:txBody>
                    <a:bodyPr/>
                    <a:lstStyle/>
                    <a:p>
                      <a:pPr algn="ctr"/>
                      <a:r>
                        <a:rPr lang="es-ES_tradnl" sz="1050" dirty="0" smtClean="0"/>
                        <a:t>HP Indigo 3500</a:t>
                      </a:r>
                      <a:endParaRPr lang="en-US" sz="10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9638" name="Picture 7" descr="commercial portfolio.jpg"/>
          <p:cNvPicPr>
            <a:picLocks noChangeAspect="1"/>
          </p:cNvPicPr>
          <p:nvPr/>
        </p:nvPicPr>
        <p:blipFill>
          <a:blip r:embed="rId7"/>
          <a:srcRect l="12791" t="16197" r="50972" b="64439"/>
          <a:stretch>
            <a:fillRect/>
          </a:stretch>
        </p:blipFill>
        <p:spPr bwMode="auto">
          <a:xfrm>
            <a:off x="179388" y="2528888"/>
            <a:ext cx="1620837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39" name="Picture 8" descr="commercial portfolio.jpg"/>
          <p:cNvPicPr>
            <a:picLocks noChangeAspect="1"/>
          </p:cNvPicPr>
          <p:nvPr/>
        </p:nvPicPr>
        <p:blipFill>
          <a:blip r:embed="rId7"/>
          <a:srcRect l="12791" t="41612" r="51778" b="40234"/>
          <a:stretch>
            <a:fillRect/>
          </a:stretch>
        </p:blipFill>
        <p:spPr bwMode="auto">
          <a:xfrm>
            <a:off x="142875" y="4184650"/>
            <a:ext cx="1690688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40" name="Picture 10" descr="commercial portfolio.jpg"/>
          <p:cNvPicPr>
            <a:picLocks noChangeAspect="1"/>
          </p:cNvPicPr>
          <p:nvPr/>
        </p:nvPicPr>
        <p:blipFill>
          <a:blip r:embed="rId7"/>
          <a:srcRect l="12791" t="59766" r="50885" b="21928"/>
          <a:stretch>
            <a:fillRect/>
          </a:stretch>
        </p:blipFill>
        <p:spPr bwMode="auto">
          <a:xfrm>
            <a:off x="142875" y="5064125"/>
            <a:ext cx="1692275" cy="566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41" name="Picture 11" descr="commercial portfolio.jpg"/>
          <p:cNvPicPr>
            <a:picLocks noChangeAspect="1"/>
          </p:cNvPicPr>
          <p:nvPr/>
        </p:nvPicPr>
        <p:blipFill>
          <a:blip r:embed="rId7"/>
          <a:srcRect l="12997" t="78235" r="55998" b="3618"/>
          <a:stretch>
            <a:fillRect/>
          </a:stretch>
        </p:blipFill>
        <p:spPr bwMode="auto">
          <a:xfrm>
            <a:off x="341313" y="5913438"/>
            <a:ext cx="1385887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42" name="Picture 12" descr="commercial portfolio.jpg"/>
          <p:cNvPicPr>
            <a:picLocks noChangeAspect="1"/>
          </p:cNvPicPr>
          <p:nvPr/>
        </p:nvPicPr>
        <p:blipFill>
          <a:blip r:embed="rId7"/>
          <a:srcRect l="59898" t="36771" r="2657" b="45076"/>
          <a:stretch>
            <a:fillRect/>
          </a:stretch>
        </p:blipFill>
        <p:spPr bwMode="auto">
          <a:xfrm>
            <a:off x="142875" y="3355975"/>
            <a:ext cx="1692275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43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43100" y="2349500"/>
            <a:ext cx="828675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44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43100" y="3213100"/>
            <a:ext cx="828675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45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79613" y="4076700"/>
            <a:ext cx="828675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46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79613" y="4905375"/>
            <a:ext cx="828675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47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43100" y="5768975"/>
            <a:ext cx="828675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48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987675" y="2384425"/>
            <a:ext cx="828675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49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987675" y="3249613"/>
            <a:ext cx="828675" cy="827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50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024188" y="4113213"/>
            <a:ext cx="827087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51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024188" y="4941888"/>
            <a:ext cx="827087" cy="827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52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987675" y="5805488"/>
            <a:ext cx="828675" cy="827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53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995738" y="2384425"/>
            <a:ext cx="828675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54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995738" y="3249613"/>
            <a:ext cx="828675" cy="827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55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032250" y="4113213"/>
            <a:ext cx="827088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56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032250" y="4941888"/>
            <a:ext cx="827088" cy="827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57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995738" y="5805488"/>
            <a:ext cx="828675" cy="827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58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040313" y="2420938"/>
            <a:ext cx="827087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59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040313" y="3284538"/>
            <a:ext cx="827087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60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076825" y="4149725"/>
            <a:ext cx="827088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61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076825" y="4976813"/>
            <a:ext cx="827088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62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084888" y="4941888"/>
            <a:ext cx="827087" cy="827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63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127875" y="4113213"/>
            <a:ext cx="828675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664" name="Picture 6" descr="C:\Users\apaniell\AppData\Local\Microsoft\Windows\Temporary Internet Files\Content.IE5\VGKMB0MZ\MC900441310[1]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135938" y="4149725"/>
            <a:ext cx="828675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5" name="Title 1"/>
          <p:cNvSpPr>
            <a:spLocks noGrp="1"/>
          </p:cNvSpPr>
          <p:nvPr>
            <p:ph type="title"/>
          </p:nvPr>
        </p:nvSpPr>
        <p:spPr>
          <a:xfrm>
            <a:off x="838200" y="-152400"/>
            <a:ext cx="4572000" cy="1066800"/>
          </a:xfrm>
        </p:spPr>
        <p:txBody>
          <a:bodyPr/>
          <a:lstStyle/>
          <a:p>
            <a:pPr algn="l"/>
            <a:r>
              <a:rPr lang="hr-HR" smtClean="0"/>
              <a:t>HP Indigo </a:t>
            </a:r>
            <a:r>
              <a:rPr lang="en-GB" smtClean="0"/>
              <a:t>Portfolio</a:t>
            </a:r>
            <a:endParaRPr lang="en-US" smtClean="0"/>
          </a:p>
        </p:txBody>
      </p:sp>
      <p:pic>
        <p:nvPicPr>
          <p:cNvPr id="21094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2263" y="666750"/>
            <a:ext cx="7462837" cy="5595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/>
          <p:cNvSpPr/>
          <p:nvPr/>
        </p:nvSpPr>
        <p:spPr>
          <a:xfrm>
            <a:off x="7696200" y="666750"/>
            <a:ext cx="139700" cy="57340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228600" y="666750"/>
            <a:ext cx="139700" cy="57340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 flipV="1">
            <a:off x="381000" y="666750"/>
            <a:ext cx="7454900" cy="152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 rot="1813921">
            <a:off x="5341938" y="703263"/>
            <a:ext cx="1981200" cy="14763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28613" y="257175"/>
            <a:ext cx="8662987" cy="809625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HP Indigo 10000 Digital Press</a:t>
            </a:r>
            <a:endParaRPr lang="en-US" dirty="0"/>
          </a:p>
        </p:txBody>
      </p:sp>
      <p:pic>
        <p:nvPicPr>
          <p:cNvPr id="211970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066800"/>
            <a:ext cx="9144000" cy="467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131763" y="4703763"/>
          <a:ext cx="8880475" cy="1468437"/>
        </p:xfrm>
        <a:graphic>
          <a:graphicData uri="http://schemas.openxmlformats.org/drawingml/2006/table">
            <a:tbl>
              <a:tblPr firstRow="1" bandRow="1"/>
              <a:tblGrid>
                <a:gridCol w="2269459"/>
                <a:gridCol w="1981200"/>
                <a:gridCol w="2590800"/>
                <a:gridCol w="2040466"/>
              </a:tblGrid>
              <a:tr h="39174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9pPr>
                    </a:lstStyle>
                    <a:p>
                      <a:endParaRPr lang="en-US" dirty="0">
                        <a:latin typeface="HP Simplified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9pPr>
                    </a:lstStyle>
                    <a:p>
                      <a:pPr algn="ctr"/>
                      <a:endParaRPr lang="en-US" dirty="0">
                        <a:latin typeface="HP Simplified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59101">
                <a:tc rowSpan="3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r>
                        <a:rPr lang="en-US" sz="1600" b="0" dirty="0" smtClean="0">
                          <a:latin typeface="HP Simplified" pitchFamily="34" charset="0"/>
                        </a:rPr>
                        <a:t>Format</a:t>
                      </a:r>
                      <a:endParaRPr lang="en-US" sz="1600" b="0" dirty="0">
                        <a:latin typeface="HP Simplified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algn="l"/>
                      <a:r>
                        <a:rPr lang="en-US" sz="1600" b="0" u="sng" dirty="0" smtClean="0">
                          <a:latin typeface="HP Simplified" pitchFamily="34" charset="0"/>
                        </a:rPr>
                        <a:t>Max</a:t>
                      </a:r>
                      <a:r>
                        <a:rPr lang="en-US" sz="1600" b="0" dirty="0" smtClean="0">
                          <a:latin typeface="HP Simplified" pitchFamily="34" charset="0"/>
                        </a:rPr>
                        <a:t> </a:t>
                      </a:r>
                      <a:r>
                        <a:rPr lang="hr-HR" sz="1600" b="0" dirty="0" smtClean="0">
                          <a:latin typeface="HP Simplified" pitchFamily="34" charset="0"/>
                        </a:rPr>
                        <a:t>dim. </a:t>
                      </a:r>
                      <a:r>
                        <a:rPr lang="hr-HR" sz="1600" b="0" baseline="0" dirty="0" smtClean="0">
                          <a:latin typeface="HP Simplified" pitchFamily="34" charset="0"/>
                        </a:rPr>
                        <a:t>arka</a:t>
                      </a:r>
                      <a:endParaRPr lang="en-US" sz="1600" b="0" kern="1200" dirty="0" smtClean="0">
                        <a:solidFill>
                          <a:schemeClr val="dk1"/>
                        </a:solidFill>
                        <a:latin typeface="HP Simplified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dirty="0" smtClean="0">
                          <a:latin typeface="HP Simplified" pitchFamily="34" charset="0"/>
                        </a:rPr>
                        <a:t>750</a:t>
                      </a:r>
                      <a:r>
                        <a:rPr lang="hr-HR" sz="1500" b="1" dirty="0" smtClean="0">
                          <a:latin typeface="HP Simplified" pitchFamily="34" charset="0"/>
                        </a:rPr>
                        <a:t> </a:t>
                      </a:r>
                      <a:r>
                        <a:rPr lang="en-US" sz="1500" b="1" dirty="0" smtClean="0">
                          <a:latin typeface="HP Simplified" pitchFamily="34" charset="0"/>
                        </a:rPr>
                        <a:t>mm x 530</a:t>
                      </a:r>
                      <a:r>
                        <a:rPr lang="hr-HR" sz="1500" b="1" dirty="0" smtClean="0">
                          <a:latin typeface="HP Simplified" pitchFamily="34" charset="0"/>
                        </a:rPr>
                        <a:t> </a:t>
                      </a:r>
                      <a:r>
                        <a:rPr lang="en-US" sz="1500" b="1" dirty="0" smtClean="0">
                          <a:latin typeface="HP Simplified" pitchFamily="34" charset="0"/>
                        </a:rPr>
                        <a:t>mm </a:t>
                      </a:r>
                      <a:endParaRPr lang="en-US" sz="1500" b="0" kern="1200" dirty="0" smtClean="0">
                        <a:solidFill>
                          <a:schemeClr val="dk1"/>
                        </a:solidFill>
                        <a:latin typeface="HP Simplified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dirty="0" smtClean="0">
                          <a:latin typeface="HP Simplified" pitchFamily="34" charset="0"/>
                        </a:rPr>
                        <a:t>29.5’’</a:t>
                      </a:r>
                      <a:r>
                        <a:rPr lang="en-US" sz="1500" b="1" baseline="0" dirty="0" smtClean="0">
                          <a:latin typeface="HP Simplified" pitchFamily="34" charset="0"/>
                        </a:rPr>
                        <a:t> </a:t>
                      </a:r>
                      <a:r>
                        <a:rPr lang="en-US" sz="1500" b="1" dirty="0" smtClean="0">
                          <a:latin typeface="HP Simplified" pitchFamily="34" charset="0"/>
                        </a:rPr>
                        <a:t>x 20.9’’</a:t>
                      </a:r>
                      <a:endParaRPr lang="en-US" sz="1500" b="0" kern="1200" dirty="0" smtClean="0">
                        <a:solidFill>
                          <a:schemeClr val="dk1"/>
                        </a:solidFill>
                        <a:latin typeface="HP Simplified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40000"/>
                      </a:srgbClr>
                    </a:solidFill>
                  </a:tcPr>
                </a:tc>
              </a:tr>
              <a:tr h="35910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u="sng" baseline="0" dirty="0" smtClean="0">
                          <a:latin typeface="HP Simplified" pitchFamily="34" charset="0"/>
                        </a:rPr>
                        <a:t>Max</a:t>
                      </a:r>
                      <a:r>
                        <a:rPr lang="en-US" sz="1600" b="0" baseline="0" dirty="0" smtClean="0">
                          <a:latin typeface="HP Simplified" pitchFamily="34" charset="0"/>
                        </a:rPr>
                        <a:t> </a:t>
                      </a:r>
                      <a:r>
                        <a:rPr lang="hr-HR" sz="1600" b="0" baseline="0" dirty="0" smtClean="0">
                          <a:latin typeface="HP Simplified" pitchFamily="34" charset="0"/>
                        </a:rPr>
                        <a:t>dim.</a:t>
                      </a:r>
                      <a:r>
                        <a:rPr lang="en-US" sz="1600" b="0" baseline="0" dirty="0" smtClean="0">
                          <a:latin typeface="HP Simplified" pitchFamily="34" charset="0"/>
                        </a:rPr>
                        <a:t> </a:t>
                      </a:r>
                      <a:r>
                        <a:rPr lang="hr-HR" sz="1600" b="0" baseline="0" dirty="0" smtClean="0">
                          <a:latin typeface="HP Simplified" pitchFamily="34" charset="0"/>
                        </a:rPr>
                        <a:t>ispisa</a:t>
                      </a:r>
                      <a:endParaRPr lang="en-US" sz="1600" b="0" kern="1200" dirty="0" smtClean="0">
                        <a:solidFill>
                          <a:schemeClr val="dk1"/>
                        </a:solidFill>
                        <a:latin typeface="HP Simplified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baseline="0" dirty="0" smtClean="0">
                          <a:latin typeface="HP Simplified" pitchFamily="34" charset="0"/>
                        </a:rPr>
                        <a:t>740</a:t>
                      </a:r>
                      <a:r>
                        <a:rPr lang="hr-HR" sz="1500" b="1" baseline="0" dirty="0" smtClean="0">
                          <a:latin typeface="HP Simplified" pitchFamily="34" charset="0"/>
                        </a:rPr>
                        <a:t> </a:t>
                      </a:r>
                      <a:r>
                        <a:rPr lang="en-US" sz="1500" b="1" baseline="0" dirty="0" smtClean="0">
                          <a:latin typeface="HP Simplified" pitchFamily="34" charset="0"/>
                        </a:rPr>
                        <a:t>mm x 510</a:t>
                      </a:r>
                      <a:r>
                        <a:rPr lang="hr-HR" sz="1500" b="1" baseline="0" dirty="0" smtClean="0">
                          <a:latin typeface="HP Simplified" pitchFamily="34" charset="0"/>
                        </a:rPr>
                        <a:t> </a:t>
                      </a:r>
                      <a:r>
                        <a:rPr lang="en-US" sz="1500" b="1" baseline="0" dirty="0" smtClean="0">
                          <a:latin typeface="HP Simplified" pitchFamily="34" charset="0"/>
                        </a:rPr>
                        <a:t>mm </a:t>
                      </a:r>
                      <a:endParaRPr lang="en-US" sz="1500" b="0" kern="1200" dirty="0" smtClean="0">
                        <a:solidFill>
                          <a:schemeClr val="dk1"/>
                        </a:solidFill>
                        <a:latin typeface="HP Simplified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dirty="0" smtClean="0">
                          <a:latin typeface="HP Simplified" pitchFamily="34" charset="0"/>
                        </a:rPr>
                        <a:t>29.1’’</a:t>
                      </a:r>
                      <a:r>
                        <a:rPr lang="en-US" sz="1500" b="1" baseline="0" dirty="0" smtClean="0">
                          <a:latin typeface="HP Simplified" pitchFamily="34" charset="0"/>
                        </a:rPr>
                        <a:t> </a:t>
                      </a:r>
                      <a:r>
                        <a:rPr lang="en-US" sz="1500" b="1" dirty="0" smtClean="0">
                          <a:latin typeface="HP Simplified" pitchFamily="34" charset="0"/>
                        </a:rPr>
                        <a:t>x 20.1’’</a:t>
                      </a:r>
                      <a:endParaRPr lang="en-US" sz="1500" b="0" kern="1200" dirty="0" smtClean="0">
                        <a:solidFill>
                          <a:schemeClr val="dk1"/>
                        </a:solidFill>
                        <a:latin typeface="HP Simplified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20000"/>
                      </a:srgbClr>
                    </a:solidFill>
                  </a:tcPr>
                </a:tc>
              </a:tr>
              <a:tr h="35910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u="sng" dirty="0" smtClean="0">
                          <a:latin typeface="HP Simplified" pitchFamily="34" charset="0"/>
                        </a:rPr>
                        <a:t>Min</a:t>
                      </a:r>
                      <a:r>
                        <a:rPr lang="en-US" sz="1600" b="0" dirty="0" smtClean="0">
                          <a:latin typeface="HP Simplified" pitchFamily="34" charset="0"/>
                        </a:rPr>
                        <a:t> </a:t>
                      </a:r>
                      <a:r>
                        <a:rPr lang="hr-HR" sz="1600" b="0" dirty="0" smtClean="0">
                          <a:latin typeface="HP Simplified" pitchFamily="34" charset="0"/>
                        </a:rPr>
                        <a:t>dim. arka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510</a:t>
                      </a:r>
                      <a:r>
                        <a:rPr lang="hr-HR" sz="1500" b="0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500" b="0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mm x 297</a:t>
                      </a:r>
                      <a:r>
                        <a:rPr lang="hr-HR" sz="1500" b="0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500" b="0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mm 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20.08</a:t>
                      </a:r>
                      <a:r>
                        <a:rPr lang="en-US" sz="1500" b="0" dirty="0" smtClean="0">
                          <a:latin typeface="HP Simplified" pitchFamily="34" charset="0"/>
                        </a:rPr>
                        <a:t>’’</a:t>
                      </a:r>
                      <a:r>
                        <a:rPr lang="en-US" sz="1500" b="0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 x 11.69’’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grpSp>
        <p:nvGrpSpPr>
          <p:cNvPr id="213016" name="Group 7"/>
          <p:cNvGrpSpPr>
            <a:grpSpLocks/>
          </p:cNvGrpSpPr>
          <p:nvPr/>
        </p:nvGrpSpPr>
        <p:grpSpPr bwMode="auto">
          <a:xfrm>
            <a:off x="2025650" y="65088"/>
            <a:ext cx="6584950" cy="4710112"/>
            <a:chOff x="1929190" y="548680"/>
            <a:chExt cx="6585600" cy="4710427"/>
          </a:xfrm>
        </p:grpSpPr>
        <p:pic>
          <p:nvPicPr>
            <p:cNvPr id="213018" name="Picture 3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2267744" y="548680"/>
              <a:ext cx="5351593" cy="47104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TextBox 10"/>
            <p:cNvSpPr txBox="1"/>
            <p:nvPr/>
          </p:nvSpPr>
          <p:spPr>
            <a:xfrm rot="16200000">
              <a:off x="3575602" y="2339494"/>
              <a:ext cx="717598" cy="30800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kern="0" dirty="0">
                  <a:solidFill>
                    <a:srgbClr val="FF0000"/>
                  </a:solidFill>
                  <a:latin typeface="+mn-lt"/>
                </a:rPr>
                <a:t>Portrait</a:t>
              </a:r>
              <a:endParaRPr lang="en-US" sz="1400" kern="0" dirty="0">
                <a:solidFill>
                  <a:srgbClr val="FF0000"/>
                </a:solidFill>
                <a:latin typeface="+mn-lt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004482" y="4458953"/>
              <a:ext cx="1122473" cy="33816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kern="0" dirty="0">
                  <a:solidFill>
                    <a:srgbClr val="0070C0"/>
                  </a:solidFill>
                  <a:latin typeface="+mn-lt"/>
                </a:rPr>
                <a:t>Landscape</a:t>
              </a:r>
              <a:endParaRPr lang="en-US" sz="1600" kern="0" dirty="0">
                <a:solidFill>
                  <a:srgbClr val="0070C0"/>
                </a:solidFill>
                <a:latin typeface="+mn-lt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2776999" y="4746311"/>
              <a:ext cx="930367" cy="33816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kern="0" dirty="0">
                  <a:solidFill>
                    <a:srgbClr val="FF0000"/>
                  </a:solidFill>
                  <a:latin typeface="+mn-lt"/>
                </a:rPr>
                <a:t>330 mm</a:t>
              </a:r>
              <a:endParaRPr lang="en-US" sz="1600" kern="0" dirty="0">
                <a:solidFill>
                  <a:srgbClr val="FF0000"/>
                </a:solidFill>
                <a:latin typeface="+mn-lt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 rot="16200000">
              <a:off x="1632314" y="3077731"/>
              <a:ext cx="931924" cy="33817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kern="0" dirty="0">
                  <a:solidFill>
                    <a:srgbClr val="FF0000"/>
                  </a:solidFill>
                  <a:latin typeface="+mn-lt"/>
                </a:rPr>
                <a:t>484 mm</a:t>
              </a:r>
              <a:endParaRPr lang="en-US" sz="1600" kern="0" dirty="0">
                <a:solidFill>
                  <a:srgbClr val="FF0000"/>
                </a:solidFill>
                <a:latin typeface="+mn-lt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831426" y="4828866"/>
              <a:ext cx="1108184" cy="4000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b="1" kern="0" dirty="0">
                  <a:solidFill>
                    <a:srgbClr val="0070C0"/>
                  </a:solidFill>
                  <a:latin typeface="+mn-lt"/>
                </a:rPr>
                <a:t>/29.5’’</a:t>
              </a:r>
              <a:endParaRPr lang="en-US" sz="2000" b="1" kern="0" dirty="0">
                <a:solidFill>
                  <a:srgbClr val="0070C0"/>
                </a:solidFill>
                <a:latin typeface="+mn-lt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7379616" y="3101551"/>
              <a:ext cx="1135174" cy="4000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b="1" kern="0" dirty="0">
                  <a:solidFill>
                    <a:srgbClr val="0070C0"/>
                  </a:solidFill>
                  <a:latin typeface="+mn-lt"/>
                </a:rPr>
                <a:t>/20.9’’</a:t>
              </a:r>
              <a:endParaRPr lang="en-US" sz="2000" b="1" kern="0" dirty="0">
                <a:solidFill>
                  <a:srgbClr val="0070C0"/>
                </a:solidFill>
                <a:latin typeface="+mn-lt"/>
              </a:endParaRPr>
            </a:p>
          </p:txBody>
        </p:sp>
      </p:grpSp>
      <p:sp>
        <p:nvSpPr>
          <p:cNvPr id="2130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hr-HR" sz="3600" b="1" smtClean="0">
                <a:solidFill>
                  <a:srgbClr val="000000"/>
                </a:solidFill>
                <a:latin typeface="Futura"/>
                <a:cs typeface="Arial" charset="0"/>
              </a:rPr>
              <a:t>HP Indigo 10000</a:t>
            </a:r>
            <a:br>
              <a:rPr lang="hr-HR" sz="3600" b="1" smtClean="0">
                <a:solidFill>
                  <a:srgbClr val="000000"/>
                </a:solidFill>
                <a:latin typeface="Futura"/>
                <a:cs typeface="Arial" charset="0"/>
              </a:rPr>
            </a:br>
            <a:endParaRPr lang="en-US" sz="3600" b="1" smtClean="0">
              <a:solidFill>
                <a:srgbClr val="000000"/>
              </a:solidFill>
              <a:latin typeface="Futura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0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>
                <a:solidFill>
                  <a:srgbClr val="000000"/>
                </a:solidFill>
                <a:cs typeface="Arial" charset="0"/>
              </a:rPr>
              <a:t>Visoka produktivnost – brzina tiska</a:t>
            </a:r>
            <a:endParaRPr lang="en-US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4018" name="TextBox 38"/>
          <p:cNvSpPr txBox="1">
            <a:spLocks noChangeArrowheads="1"/>
          </p:cNvSpPr>
          <p:nvPr/>
        </p:nvSpPr>
        <p:spPr bwMode="auto">
          <a:xfrm>
            <a:off x="381000" y="5791200"/>
            <a:ext cx="889158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r-HR">
                <a:latin typeface="HP Simplified"/>
              </a:rPr>
              <a:t>Sve brzine su u arcima na sat, u svim formatima, bez obzira na gramaturu i debljinu.</a:t>
            </a:r>
            <a:endParaRPr lang="en-US">
              <a:latin typeface="HP Simplified"/>
            </a:endParaRPr>
          </a:p>
        </p:txBody>
      </p:sp>
      <p:graphicFrame>
        <p:nvGraphicFramePr>
          <p:cNvPr id="40" name="Table 39"/>
          <p:cNvGraphicFramePr>
            <a:graphicFrameLocks noGrp="1"/>
          </p:cNvGraphicFramePr>
          <p:nvPr/>
        </p:nvGraphicFramePr>
        <p:xfrm>
          <a:off x="592138" y="2133600"/>
          <a:ext cx="7561262" cy="3230563"/>
        </p:xfrm>
        <a:graphic>
          <a:graphicData uri="http://schemas.openxmlformats.org/drawingml/2006/table">
            <a:tbl>
              <a:tblPr firstRow="1" bandRow="1"/>
              <a:tblGrid>
                <a:gridCol w="3602306"/>
                <a:gridCol w="3958534"/>
              </a:tblGrid>
              <a:tr h="43605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9pPr>
                    </a:lstStyle>
                    <a:p>
                      <a:pPr algn="ctr"/>
                      <a:r>
                        <a:rPr lang="en-US" sz="2400" dirty="0" smtClean="0">
                          <a:latin typeface="HP Simplified" pitchFamily="34" charset="0"/>
                        </a:rPr>
                        <a:t>Print mode</a:t>
                      </a:r>
                      <a:endParaRPr lang="en-US" sz="2400" dirty="0">
                        <a:latin typeface="HP Simplified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utura Bk"/>
                        </a:defRPr>
                      </a:lvl9pPr>
                    </a:lstStyle>
                    <a:p>
                      <a:pPr algn="ctr"/>
                      <a:r>
                        <a:rPr lang="en-US" sz="2400" dirty="0" smtClean="0">
                          <a:latin typeface="HP Simplified" pitchFamily="34" charset="0"/>
                        </a:rPr>
                        <a:t>Sheets</a:t>
                      </a:r>
                      <a:r>
                        <a:rPr lang="en-US" sz="2400" baseline="0" dirty="0" smtClean="0">
                          <a:latin typeface="HP Simplified" pitchFamily="34" charset="0"/>
                        </a:rPr>
                        <a:t> per hour</a:t>
                      </a:r>
                      <a:endParaRPr lang="en-US" sz="2400" dirty="0">
                        <a:latin typeface="HP Simplified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/>
                    </a:solidFill>
                  </a:tcPr>
                </a:tc>
              </a:tr>
              <a:tr h="39596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algn="ctr"/>
                      <a:r>
                        <a:rPr lang="en-US" sz="2000" b="0" u="none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Duplex </a:t>
                      </a:r>
                      <a:r>
                        <a:rPr lang="en-US" sz="2000" b="0" u="none" kern="1200" baseline="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color (EPM)</a:t>
                      </a:r>
                      <a:endParaRPr lang="en-US" sz="2000" b="0" u="none" kern="1200" dirty="0" smtClean="0">
                        <a:solidFill>
                          <a:schemeClr val="dk1"/>
                        </a:solidFill>
                        <a:latin typeface="HP Simplified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2300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40000"/>
                      </a:srgbClr>
                    </a:solidFill>
                  </a:tcPr>
                </a:tc>
              </a:tr>
              <a:tr h="39596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algn="ctr"/>
                      <a:r>
                        <a:rPr lang="en-US" sz="2000" b="0" u="none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Simplex color (EPM)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4600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20000"/>
                      </a:srgbClr>
                    </a:solidFill>
                  </a:tcPr>
                </a:tc>
              </a:tr>
              <a:tr h="39596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u="none" baseline="0" dirty="0" smtClean="0">
                          <a:latin typeface="HP Simplified" pitchFamily="34" charset="0"/>
                        </a:rPr>
                        <a:t>4/4</a:t>
                      </a:r>
                      <a:endParaRPr lang="en-US" sz="2000" b="0" u="none" kern="1200" dirty="0" smtClean="0">
                        <a:solidFill>
                          <a:schemeClr val="dk1"/>
                        </a:solidFill>
                        <a:latin typeface="HP Simplified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1725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40000"/>
                      </a:srgbClr>
                    </a:solidFill>
                  </a:tcPr>
                </a:tc>
              </a:tr>
              <a:tr h="39596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u="none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4/0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3450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20000"/>
                      </a:srgbClr>
                    </a:solidFill>
                  </a:tcPr>
                </a:tc>
              </a:tr>
              <a:tr h="39596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u="none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2/0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4600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40000"/>
                      </a:srgbClr>
                    </a:solidFill>
                  </a:tcPr>
                </a:tc>
              </a:tr>
              <a:tr h="39596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u="none" dirty="0" smtClean="0">
                          <a:latin typeface="HP Simplified" pitchFamily="34" charset="0"/>
                        </a:rPr>
                        <a:t>1/1</a:t>
                      </a:r>
                      <a:endParaRPr lang="en-US" sz="2000" b="0" u="none" kern="1200" dirty="0" smtClean="0">
                        <a:solidFill>
                          <a:schemeClr val="dk1"/>
                        </a:solidFill>
                        <a:latin typeface="HP Simplified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4600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20000"/>
                      </a:srgbClr>
                    </a:solidFill>
                  </a:tcPr>
                </a:tc>
              </a:tr>
              <a:tr h="39596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1/0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utura Bk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kern="1200" dirty="0" smtClean="0">
                          <a:solidFill>
                            <a:schemeClr val="dk1"/>
                          </a:solidFill>
                          <a:latin typeface="HP Simplified" pitchFamily="34" charset="0"/>
                          <a:ea typeface="+mn-ea"/>
                          <a:cs typeface="+mn-cs"/>
                        </a:rPr>
                        <a:t>6900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4E4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41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de-DE" smtClean="0">
                <a:solidFill>
                  <a:srgbClr val="000000"/>
                </a:solidFill>
                <a:cs typeface="Arial" charset="0"/>
              </a:rPr>
              <a:t>I</a:t>
            </a:r>
            <a:r>
              <a:rPr lang="hr-HR" smtClean="0">
                <a:solidFill>
                  <a:srgbClr val="000000"/>
                </a:solidFill>
                <a:cs typeface="Arial" charset="0"/>
              </a:rPr>
              <a:t>nspiracija za nove proizvode</a:t>
            </a:r>
            <a:endParaRPr lang="de-DE" smtClean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215042" name="Picture 5" descr="Request a Catalo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551238" y="914400"/>
            <a:ext cx="2239962" cy="182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43" name="Picture 2" descr="https://encrypted-tbn2.google.com/images?q=tbn:ANd9GcQoc6FEVVjdtr-2KCUI_jY47aAqTf1xKS0oBB7_8atnF0psablb_w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1463" y="838200"/>
            <a:ext cx="2243137" cy="192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044" name="TextBox 11"/>
          <p:cNvSpPr txBox="1">
            <a:spLocks noChangeArrowheads="1"/>
          </p:cNvSpPr>
          <p:nvPr/>
        </p:nvSpPr>
        <p:spPr bwMode="auto">
          <a:xfrm>
            <a:off x="271463" y="2674938"/>
            <a:ext cx="3384550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de-DE" sz="1600" b="1">
                <a:solidFill>
                  <a:srgbClr val="000000"/>
                </a:solidFill>
                <a:latin typeface="Calibri" pitchFamily="34" charset="0"/>
              </a:rPr>
              <a:t>6-page A4 brochure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600" b="1">
                <a:solidFill>
                  <a:srgbClr val="000000"/>
                </a:solidFill>
                <a:latin typeface="Calibri" pitchFamily="34" charset="0"/>
              </a:rPr>
              <a:t>Square-fold A4 brochures</a:t>
            </a:r>
          </a:p>
          <a:p>
            <a:pPr marL="285750" indent="-285750">
              <a:buFont typeface="Arial" charset="0"/>
              <a:buChar char="•"/>
            </a:pPr>
            <a:r>
              <a:rPr lang="de-DE" sz="1600" b="1">
                <a:solidFill>
                  <a:srgbClr val="000000"/>
                </a:solidFill>
                <a:latin typeface="Calibri" pitchFamily="34" charset="0"/>
              </a:rPr>
              <a:t>8-page A5 brochures</a:t>
            </a:r>
          </a:p>
        </p:txBody>
      </p:sp>
      <p:sp>
        <p:nvSpPr>
          <p:cNvPr id="215045" name="TextBox 12"/>
          <p:cNvSpPr txBox="1">
            <a:spLocks noChangeArrowheads="1"/>
          </p:cNvSpPr>
          <p:nvPr/>
        </p:nvSpPr>
        <p:spPr bwMode="auto">
          <a:xfrm>
            <a:off x="3352800" y="2616200"/>
            <a:ext cx="2592388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 sz="1600" b="1">
                <a:solidFill>
                  <a:srgbClr val="000000"/>
                </a:solidFill>
                <a:latin typeface="Calibri" pitchFamily="34" charset="0"/>
              </a:rPr>
              <a:t>Oversized brochures and catalogs</a:t>
            </a:r>
          </a:p>
        </p:txBody>
      </p:sp>
      <p:pic>
        <p:nvPicPr>
          <p:cNvPr id="215046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66713" y="3657600"/>
            <a:ext cx="2130425" cy="213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047" name="TextBox 14"/>
          <p:cNvSpPr txBox="1">
            <a:spLocks noChangeArrowheads="1"/>
          </p:cNvSpPr>
          <p:nvPr/>
        </p:nvSpPr>
        <p:spPr bwMode="auto">
          <a:xfrm>
            <a:off x="304800" y="5378450"/>
            <a:ext cx="2366963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 sz="1600" b="1">
                <a:solidFill>
                  <a:srgbClr val="000000"/>
                </a:solidFill>
                <a:latin typeface="Calibri" pitchFamily="34" charset="0"/>
              </a:rPr>
              <a:t>Personalized pocket folders</a:t>
            </a:r>
          </a:p>
        </p:txBody>
      </p:sp>
      <p:pic>
        <p:nvPicPr>
          <p:cNvPr id="215048" name="Picture 2" descr="http://t0.gstatic.com/images?q=tbn:ANd9GcTaIMuiUFSqHCTvytLHzUyx4henfGTZq0x8m_Xlq5VpohvR2Z-S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435350" y="3505200"/>
            <a:ext cx="2736850" cy="180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049" name="TextBox 16"/>
          <p:cNvSpPr txBox="1">
            <a:spLocks noChangeArrowheads="1"/>
          </p:cNvSpPr>
          <p:nvPr/>
        </p:nvSpPr>
        <p:spPr bwMode="auto">
          <a:xfrm>
            <a:off x="3646488" y="5410200"/>
            <a:ext cx="2366962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 sz="1600" b="1">
                <a:solidFill>
                  <a:srgbClr val="000000"/>
                </a:solidFill>
                <a:latin typeface="Calibri" pitchFamily="34" charset="0"/>
              </a:rPr>
              <a:t>Tri-fold menus</a:t>
            </a:r>
          </a:p>
        </p:txBody>
      </p:sp>
      <p:grpSp>
        <p:nvGrpSpPr>
          <p:cNvPr id="215050" name="Group 13"/>
          <p:cNvGrpSpPr>
            <a:grpSpLocks/>
          </p:cNvGrpSpPr>
          <p:nvPr/>
        </p:nvGrpSpPr>
        <p:grpSpPr bwMode="auto">
          <a:xfrm>
            <a:off x="6477000" y="1822450"/>
            <a:ext cx="2303463" cy="2695575"/>
            <a:chOff x="1449698" y="5064892"/>
            <a:chExt cx="1240558" cy="1358081"/>
          </a:xfrm>
        </p:grpSpPr>
        <p:pic>
          <p:nvPicPr>
            <p:cNvPr id="215051" name="Picture 35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1449698" y="5064892"/>
              <a:ext cx="1239605" cy="10634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5052" name="TextBox 20"/>
            <p:cNvSpPr txBox="1">
              <a:spLocks noChangeArrowheads="1"/>
            </p:cNvSpPr>
            <p:nvPr/>
          </p:nvSpPr>
          <p:spPr bwMode="auto">
            <a:xfrm>
              <a:off x="1529917" y="6128343"/>
              <a:ext cx="1160339" cy="2946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de-DE" sz="1600" b="1">
                  <a:solidFill>
                    <a:srgbClr val="000000"/>
                  </a:solidFill>
                  <a:latin typeface="Calibri" pitchFamily="34" charset="0"/>
                </a:rPr>
                <a:t>Large-format greeting cards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hr-HR" dirty="0" smtClean="0">
                <a:solidFill>
                  <a:prstClr val="black"/>
                </a:solidFill>
                <a:cs typeface="Arial" pitchFamily="34" charset="0"/>
              </a:rPr>
              <a:t>Inspiracija za nove proizvode</a:t>
            </a:r>
            <a:br>
              <a:rPr lang="hr-HR" dirty="0" smtClean="0">
                <a:solidFill>
                  <a:prstClr val="black"/>
                </a:solidFill>
                <a:cs typeface="Arial" pitchFamily="34" charset="0"/>
              </a:rPr>
            </a:br>
            <a:endParaRPr lang="de-DE" dirty="0">
              <a:solidFill>
                <a:prstClr val="black"/>
              </a:solidFill>
              <a:cs typeface="Arial" pitchFamily="34" charset="0"/>
            </a:endParaRPr>
          </a:p>
        </p:txBody>
      </p:sp>
      <p:grpSp>
        <p:nvGrpSpPr>
          <p:cNvPr id="216066" name="Group 15"/>
          <p:cNvGrpSpPr>
            <a:grpSpLocks/>
          </p:cNvGrpSpPr>
          <p:nvPr/>
        </p:nvGrpSpPr>
        <p:grpSpPr bwMode="auto">
          <a:xfrm>
            <a:off x="536575" y="838200"/>
            <a:ext cx="2206625" cy="2492375"/>
            <a:chOff x="4840717" y="4559854"/>
            <a:chExt cx="2172937" cy="2365642"/>
          </a:xfrm>
        </p:grpSpPr>
        <p:grpSp>
          <p:nvGrpSpPr>
            <p:cNvPr id="216078" name="Group 9"/>
            <p:cNvGrpSpPr>
              <a:grpSpLocks/>
            </p:cNvGrpSpPr>
            <p:nvPr/>
          </p:nvGrpSpPr>
          <p:grpSpPr bwMode="auto">
            <a:xfrm>
              <a:off x="5156829" y="4559854"/>
              <a:ext cx="1479583" cy="2103282"/>
              <a:chOff x="5041074" y="4697330"/>
              <a:chExt cx="1479583" cy="2103282"/>
            </a:xfrm>
          </p:grpSpPr>
          <p:pic>
            <p:nvPicPr>
              <p:cNvPr id="216080" name="Picture 42" descr="http://t0.gstatic.com/images?q=tbn:ANd9GcSIQZL0ptdLgETbSp4TJR5WLPEek0fGV6KYDXb6mYPVXHXZTY_uTQ"/>
              <p:cNvPicPr>
                <a:picLocks noChangeAspect="1" noChangeArrowheads="1"/>
              </p:cNvPicPr>
              <p:nvPr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>
                <a:off x="5041074" y="5332227"/>
                <a:ext cx="1468384" cy="14683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5" name="Picture 39" descr="http://restaurantfunds.com/blog/wp-content/uploads/2011/04/menu-sample.jpg"/>
              <p:cNvPicPr>
                <a:picLocks noChangeAspect="1" noChangeArrowheads="1"/>
              </p:cNvPicPr>
              <p:nvPr/>
            </p:nvPicPr>
            <p:blipFill>
              <a:blip r:embed="rId3"/>
              <a:srcRect/>
              <a:stretch>
                <a:fillRect/>
              </a:stretch>
            </p:blipFill>
            <p:spPr bwMode="auto">
              <a:xfrm>
                <a:off x="5102496" y="4636589"/>
                <a:ext cx="1423010" cy="2875050"/>
              </a:xfrm>
              <a:prstGeom prst="rect">
                <a:avLst/>
              </a:prstGeom>
              <a:noFill/>
            </p:spPr>
          </p:pic>
        </p:grpSp>
        <p:sp>
          <p:nvSpPr>
            <p:cNvPr id="216079" name="TextBox 22"/>
            <p:cNvSpPr txBox="1">
              <a:spLocks noChangeArrowheads="1"/>
            </p:cNvSpPr>
            <p:nvPr/>
          </p:nvSpPr>
          <p:spPr bwMode="auto">
            <a:xfrm>
              <a:off x="4840717" y="6604225"/>
              <a:ext cx="2172937" cy="3212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de-DE" sz="1600" b="1">
                  <a:solidFill>
                    <a:srgbClr val="000000"/>
                  </a:solidFill>
                  <a:latin typeface="Calibri" pitchFamily="34" charset="0"/>
                </a:rPr>
                <a:t>Menu boards</a:t>
              </a:r>
            </a:p>
          </p:txBody>
        </p:sp>
      </p:grpSp>
      <p:pic>
        <p:nvPicPr>
          <p:cNvPr id="216067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36588" y="3429000"/>
            <a:ext cx="2393950" cy="182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6068" name="TextBox 26"/>
          <p:cNvSpPr txBox="1">
            <a:spLocks noChangeArrowheads="1"/>
          </p:cNvSpPr>
          <p:nvPr/>
        </p:nvSpPr>
        <p:spPr bwMode="auto">
          <a:xfrm>
            <a:off x="498475" y="5445125"/>
            <a:ext cx="2668588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 sz="1600" b="1">
                <a:solidFill>
                  <a:srgbClr val="000000"/>
                </a:solidFill>
                <a:latin typeface="Calibri" pitchFamily="34" charset="0"/>
              </a:rPr>
              <a:t>Point of sale display cartons</a:t>
            </a:r>
          </a:p>
        </p:txBody>
      </p:sp>
      <p:sp>
        <p:nvSpPr>
          <p:cNvPr id="216069" name="TextBox 27"/>
          <p:cNvSpPr txBox="1">
            <a:spLocks noChangeArrowheads="1"/>
          </p:cNvSpPr>
          <p:nvPr/>
        </p:nvSpPr>
        <p:spPr bwMode="auto">
          <a:xfrm>
            <a:off x="6213475" y="3578225"/>
            <a:ext cx="2446338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 sz="1600" b="1">
                <a:solidFill>
                  <a:srgbClr val="000000"/>
                </a:solidFill>
                <a:latin typeface="Calibri" pitchFamily="34" charset="0"/>
              </a:rPr>
              <a:t>Personalized wrapping paper</a:t>
            </a:r>
          </a:p>
        </p:txBody>
      </p:sp>
      <p:sp>
        <p:nvSpPr>
          <p:cNvPr id="216070" name="TextBox 28"/>
          <p:cNvSpPr txBox="1">
            <a:spLocks noChangeArrowheads="1"/>
          </p:cNvSpPr>
          <p:nvPr/>
        </p:nvSpPr>
        <p:spPr bwMode="auto">
          <a:xfrm>
            <a:off x="3827463" y="2747963"/>
            <a:ext cx="18542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 sz="1600" b="1">
                <a:solidFill>
                  <a:srgbClr val="000000"/>
                </a:solidFill>
                <a:latin typeface="Calibri" pitchFamily="34" charset="0"/>
              </a:rPr>
              <a:t>Personalized gifts bags</a:t>
            </a:r>
          </a:p>
        </p:txBody>
      </p:sp>
      <p:grpSp>
        <p:nvGrpSpPr>
          <p:cNvPr id="216071" name="Group 29"/>
          <p:cNvGrpSpPr>
            <a:grpSpLocks/>
          </p:cNvGrpSpPr>
          <p:nvPr/>
        </p:nvGrpSpPr>
        <p:grpSpPr bwMode="auto">
          <a:xfrm>
            <a:off x="6213475" y="2127250"/>
            <a:ext cx="2184400" cy="1296988"/>
            <a:chOff x="1531268" y="1524000"/>
            <a:chExt cx="5898232" cy="3976322"/>
          </a:xfrm>
        </p:grpSpPr>
        <p:pic>
          <p:nvPicPr>
            <p:cNvPr id="216075" name="Picture 2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1714500" y="1524000"/>
              <a:ext cx="5715000" cy="381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" name="Right Triangle 31"/>
            <p:cNvSpPr/>
            <p:nvPr/>
          </p:nvSpPr>
          <p:spPr>
            <a:xfrm rot="5400000">
              <a:off x="816961" y="2272377"/>
              <a:ext cx="2525960" cy="1097345"/>
            </a:xfrm>
            <a:prstGeom prst="rtTriangle">
              <a:avLst/>
            </a:prstGeom>
            <a:solidFill>
              <a:srgbClr val="FFFFFF"/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kern="0">
                <a:solidFill>
                  <a:srgbClr val="FFFFFF"/>
                </a:solidFill>
                <a:latin typeface="Futura Bk"/>
                <a:cs typeface="Arial"/>
              </a:endParaRPr>
            </a:p>
          </p:txBody>
        </p:sp>
        <p:sp>
          <p:nvSpPr>
            <p:cNvPr id="33" name="Right Triangle 32"/>
            <p:cNvSpPr/>
            <p:nvPr/>
          </p:nvSpPr>
          <p:spPr>
            <a:xfrm rot="15839981">
              <a:off x="5570694" y="3688669"/>
              <a:ext cx="2525963" cy="1097345"/>
            </a:xfrm>
            <a:prstGeom prst="rtTriangle">
              <a:avLst/>
            </a:prstGeom>
            <a:solidFill>
              <a:srgbClr val="FFFFFF"/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kern="0">
                <a:solidFill>
                  <a:srgbClr val="FFFFFF"/>
                </a:solidFill>
                <a:latin typeface="Futura Bk"/>
                <a:cs typeface="Arial"/>
              </a:endParaRPr>
            </a:p>
          </p:txBody>
        </p:sp>
      </p:grpSp>
      <p:pic>
        <p:nvPicPr>
          <p:cNvPr id="216072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67063" y="890588"/>
            <a:ext cx="2851150" cy="168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6073" name="TextBox 34"/>
          <p:cNvSpPr txBox="1">
            <a:spLocks noChangeArrowheads="1"/>
          </p:cNvSpPr>
          <p:nvPr/>
        </p:nvSpPr>
        <p:spPr bwMode="auto">
          <a:xfrm>
            <a:off x="3913188" y="5445125"/>
            <a:ext cx="1682750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 sz="1600" b="1">
                <a:solidFill>
                  <a:srgbClr val="000000"/>
                </a:solidFill>
                <a:latin typeface="Calibri" pitchFamily="34" charset="0"/>
              </a:rPr>
              <a:t>Personalized folding carton boxes</a:t>
            </a:r>
          </a:p>
        </p:txBody>
      </p:sp>
      <p:pic>
        <p:nvPicPr>
          <p:cNvPr id="216074" name="Picture 5" descr="http://image.made-in-china.com/4f0j00EeSQJmyhSIkv/Chocolate-Package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860800" y="3860800"/>
            <a:ext cx="1785938" cy="139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7089" name="Picture 7" descr="http://www.lifepics.com/marketing/Books/bookTypeLayflatIm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400" y="668338"/>
            <a:ext cx="2971800" cy="197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hr-HR" dirty="0" smtClean="0">
                <a:solidFill>
                  <a:prstClr val="black"/>
                </a:solidFill>
                <a:cs typeface="Arial" pitchFamily="34" charset="0"/>
              </a:rPr>
              <a:t>Inspiracija za nove proizvode</a:t>
            </a:r>
            <a:br>
              <a:rPr lang="hr-HR" dirty="0" smtClean="0">
                <a:solidFill>
                  <a:prstClr val="black"/>
                </a:solidFill>
                <a:cs typeface="Arial" pitchFamily="34" charset="0"/>
              </a:rPr>
            </a:br>
            <a:endParaRPr lang="de-DE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17091" name="TextBox 18"/>
          <p:cNvSpPr txBox="1">
            <a:spLocks noChangeArrowheads="1"/>
          </p:cNvSpPr>
          <p:nvPr/>
        </p:nvSpPr>
        <p:spPr bwMode="auto">
          <a:xfrm>
            <a:off x="566738" y="2655888"/>
            <a:ext cx="214312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 sz="1600" b="1">
                <a:solidFill>
                  <a:srgbClr val="000000"/>
                </a:solidFill>
                <a:latin typeface="Calibri" pitchFamily="34" charset="0"/>
              </a:rPr>
              <a:t>Lay-flat books</a:t>
            </a:r>
          </a:p>
        </p:txBody>
      </p:sp>
      <p:sp>
        <p:nvSpPr>
          <p:cNvPr id="217092" name="TextBox 20"/>
          <p:cNvSpPr txBox="1">
            <a:spLocks noChangeArrowheads="1"/>
          </p:cNvSpPr>
          <p:nvPr/>
        </p:nvSpPr>
        <p:spPr bwMode="auto">
          <a:xfrm>
            <a:off x="3001963" y="2655888"/>
            <a:ext cx="31019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 sz="1600" b="1">
                <a:solidFill>
                  <a:srgbClr val="000000"/>
                </a:solidFill>
                <a:latin typeface="Calibri" pitchFamily="34" charset="0"/>
              </a:rPr>
              <a:t>Oversized publications</a:t>
            </a:r>
          </a:p>
        </p:txBody>
      </p:sp>
      <p:pic>
        <p:nvPicPr>
          <p:cNvPr id="217093" name="Picture 44" descr="http://www.bindtechinc.com/site/files/cm/DSC8952-oversized-coffee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81400" y="1049338"/>
            <a:ext cx="1943100" cy="155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7094" name="TextBox 37"/>
          <p:cNvSpPr txBox="1">
            <a:spLocks noChangeArrowheads="1"/>
          </p:cNvSpPr>
          <p:nvPr/>
        </p:nvSpPr>
        <p:spPr bwMode="auto">
          <a:xfrm>
            <a:off x="6176963" y="2659063"/>
            <a:ext cx="2513012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 sz="1600" b="1">
                <a:solidFill>
                  <a:srgbClr val="000000"/>
                </a:solidFill>
                <a:latin typeface="Calibri" pitchFamily="34" charset="0"/>
              </a:rPr>
              <a:t>Book signatures</a:t>
            </a:r>
          </a:p>
        </p:txBody>
      </p:sp>
      <p:pic>
        <p:nvPicPr>
          <p:cNvPr id="217095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81738" y="990600"/>
            <a:ext cx="2303462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7096" name="TextBox 39"/>
          <p:cNvSpPr txBox="1">
            <a:spLocks noChangeArrowheads="1"/>
          </p:cNvSpPr>
          <p:nvPr/>
        </p:nvSpPr>
        <p:spPr bwMode="auto">
          <a:xfrm>
            <a:off x="358775" y="5419725"/>
            <a:ext cx="27051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 sz="1600" b="1">
                <a:solidFill>
                  <a:srgbClr val="000000"/>
                </a:solidFill>
                <a:latin typeface="Calibri" pitchFamily="34" charset="0"/>
              </a:rPr>
              <a:t>Posters and large wall or desk calendars</a:t>
            </a:r>
          </a:p>
        </p:txBody>
      </p:sp>
      <p:pic>
        <p:nvPicPr>
          <p:cNvPr id="217097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8775" y="3429000"/>
            <a:ext cx="2559050" cy="171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7098" name="Picture 41" descr="BIRTHDAY CALENDAR - Find the nicest BIRTHDAY CALENDAR with photo or text at YourSurprise.com! - Windows Internet Explorer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05150" y="3270250"/>
            <a:ext cx="2228850" cy="305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7099" name="TextBox 42"/>
          <p:cNvSpPr txBox="1">
            <a:spLocks noChangeArrowheads="1"/>
          </p:cNvSpPr>
          <p:nvPr/>
        </p:nvSpPr>
        <p:spPr bwMode="auto">
          <a:xfrm>
            <a:off x="6503988" y="5610225"/>
            <a:ext cx="21558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1600" b="1">
                <a:solidFill>
                  <a:srgbClr val="000000"/>
                </a:solidFill>
                <a:latin typeface="Calibri" pitchFamily="34" charset="0"/>
              </a:rPr>
              <a:t>Photo cube</a:t>
            </a:r>
          </a:p>
        </p:txBody>
      </p:sp>
      <p:pic>
        <p:nvPicPr>
          <p:cNvPr id="217100" name="Picture 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281738" y="3429000"/>
            <a:ext cx="2700337" cy="216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oup 3"/>
          <p:cNvGraphicFramePr>
            <a:graphicFrameLocks noGrp="1"/>
          </p:cNvGraphicFramePr>
          <p:nvPr/>
        </p:nvGraphicFramePr>
        <p:xfrm>
          <a:off x="179388" y="908050"/>
          <a:ext cx="8451850" cy="5400675"/>
        </p:xfrm>
        <a:graphic>
          <a:graphicData uri="http://schemas.openxmlformats.org/drawingml/2006/table">
            <a:tbl>
              <a:tblPr/>
              <a:tblGrid>
                <a:gridCol w="1152525"/>
                <a:gridCol w="2592387"/>
                <a:gridCol w="1693863"/>
                <a:gridCol w="1617662"/>
                <a:gridCol w="1395413"/>
              </a:tblGrid>
              <a:tr h="5667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</a:pPr>
                      <a:endParaRPr kumimoji="0" lang="hr-HR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utura Bk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5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80000"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utura Bk"/>
                          <a:cs typeface="Arial" charset="0"/>
                        </a:rPr>
                        <a:t>Job description</a:t>
                      </a:r>
                    </a:p>
                  </a:txBody>
                  <a:tcPr marL="90000" marR="90000" marT="46800" marB="4680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HP Indigo 7x00</a:t>
                      </a:r>
                    </a:p>
                  </a:txBody>
                  <a:tcPr marL="5596" marR="5596" marT="5596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HP Indigo 10000</a:t>
                      </a:r>
                    </a:p>
                  </a:txBody>
                  <a:tcPr marL="5596" marR="5596" marT="5596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X factor</a:t>
                      </a:r>
                    </a:p>
                  </a:txBody>
                  <a:tcPr marL="5596" marR="5596" marT="5596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7032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r-HR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596" marR="5596" marT="5596" marB="0"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Post card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(A6)</a:t>
                      </a:r>
                    </a:p>
                  </a:txBody>
                  <a:tcPr marL="5596" marR="5596" marT="5596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8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9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.25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7588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r-HR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596" marR="5596" marT="5596" marB="0"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Book block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(17cm  x  24cm)</a:t>
                      </a:r>
                    </a:p>
                  </a:txBody>
                  <a:tcPr marL="5596" marR="5596" marT="5596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8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4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79375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r-HR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596" marR="5596" marT="5596" marB="0"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Business cards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(85mm x 55mm)</a:t>
                      </a:r>
                    </a:p>
                  </a:txBody>
                  <a:tcPr marL="5596" marR="5596" marT="5596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5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65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.56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7032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r-HR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596" marR="5596" marT="5596" marB="0"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Magazine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(216mm x 292mm)</a:t>
                      </a:r>
                    </a:p>
                  </a:txBody>
                  <a:tcPr marL="5596" marR="5596" marT="5596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4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9366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r-HR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596" marR="5596" marT="5596" marB="0"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4 page folded brochure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(A4)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596" marR="5596" marT="5596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4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9366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r-HR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596" marR="5596" marT="5596" marB="0"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Flyers 13x17cm </a:t>
                      </a:r>
                    </a:p>
                  </a:txBody>
                  <a:tcPr marL="5596" marR="5596" marT="5596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4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2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3</a:t>
                      </a:r>
                    </a:p>
                  </a:txBody>
                  <a:tcPr marL="9525" marR="9525" marT="9525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4690" name="Object 6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4690" name="think-cell Slide" r:id="rId5" imgW="360" imgH="360" progId="">
              <p:embed/>
            </p:oleObj>
          </a:graphicData>
        </a:graphic>
      </p:graphicFrame>
      <p:sp>
        <p:nvSpPr>
          <p:cNvPr id="9" name="Rectangle 8"/>
          <p:cNvSpPr/>
          <p:nvPr/>
        </p:nvSpPr>
        <p:spPr>
          <a:xfrm>
            <a:off x="7551738" y="1628775"/>
            <a:ext cx="720725" cy="4479925"/>
          </a:xfrm>
          <a:prstGeom prst="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4741" name="TextBox 15"/>
          <p:cNvSpPr txBox="1">
            <a:spLocks noChangeArrowheads="1"/>
          </p:cNvSpPr>
          <p:nvPr/>
        </p:nvSpPr>
        <p:spPr bwMode="auto">
          <a:xfrm>
            <a:off x="2554288" y="6453188"/>
            <a:ext cx="4151312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r-HR">
                <a:latin typeface="Calibri" pitchFamily="34" charset="0"/>
              </a:rPr>
              <a:t>U prosjeku 2.5 puta više proizvoda na arku</a:t>
            </a:r>
            <a:endParaRPr lang="en-US">
              <a:latin typeface="Calibri" pitchFamily="34" charset="0"/>
            </a:endParaRPr>
          </a:p>
        </p:txBody>
      </p:sp>
      <p:grpSp>
        <p:nvGrpSpPr>
          <p:cNvPr id="114742" name="Group 24"/>
          <p:cNvGrpSpPr>
            <a:grpSpLocks/>
          </p:cNvGrpSpPr>
          <p:nvPr/>
        </p:nvGrpSpPr>
        <p:grpSpPr bwMode="auto">
          <a:xfrm>
            <a:off x="417513" y="3141663"/>
            <a:ext cx="676275" cy="450850"/>
            <a:chOff x="403650" y="3581400"/>
            <a:chExt cx="1199198" cy="573905"/>
          </a:xfrm>
        </p:grpSpPr>
        <p:pic>
          <p:nvPicPr>
            <p:cNvPr id="114749" name="Picture 16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03650" y="3581400"/>
              <a:ext cx="937634" cy="5456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4750" name="Picture 16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 rot="898665">
              <a:off x="534432" y="3609658"/>
              <a:ext cx="937634" cy="5456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4751" name="Picture 16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 rot="1763253">
              <a:off x="665214" y="3602804"/>
              <a:ext cx="937634" cy="5456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14743" name="Picture 8" descr="http://emeagwali.com/images/website/ebony-magazine-cover-april-2008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7525" y="3811588"/>
            <a:ext cx="476250" cy="59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4744" name="Picture 6" descr="http://upload.wikimedia.org/wikipedia/en/thumb/3/34/1905DuPontMillpcardback.jpg/220px-1905DuPontMillpcardback.jpg">
            <a:hlinkClick r:id="rId8"/>
          </p:cNvPr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52425" y="1557338"/>
            <a:ext cx="806450" cy="51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4745" name="Picture 4" descr="Brochure Printi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350838" y="4454525"/>
            <a:ext cx="809625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4746" name="Rectangle 24"/>
          <p:cNvSpPr>
            <a:spLocks noChangeArrowheads="1"/>
          </p:cNvSpPr>
          <p:nvPr/>
        </p:nvSpPr>
        <p:spPr bwMode="auto">
          <a:xfrm>
            <a:off x="650875" y="223838"/>
            <a:ext cx="816927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r-HR" sz="2400" b="1">
                <a:solidFill>
                  <a:srgbClr val="000000"/>
                </a:solidFill>
                <a:latin typeface="Futura Md"/>
                <a:cs typeface="Arial" charset="0"/>
              </a:rPr>
              <a:t>Visoka produktivnost</a:t>
            </a:r>
            <a:r>
              <a:rPr lang="en-US" sz="2400" b="1">
                <a:solidFill>
                  <a:srgbClr val="000000"/>
                </a:solidFill>
                <a:latin typeface="Futura Md"/>
                <a:cs typeface="Arial" charset="0"/>
              </a:rPr>
              <a:t> </a:t>
            </a:r>
            <a:endParaRPr lang="hr-HR" sz="2400" b="1">
              <a:solidFill>
                <a:srgbClr val="000000"/>
              </a:solidFill>
              <a:latin typeface="Futura Md"/>
              <a:cs typeface="Arial" charset="0"/>
            </a:endParaRPr>
          </a:p>
        </p:txBody>
      </p:sp>
      <p:pic>
        <p:nvPicPr>
          <p:cNvPr id="114747" name="Picture 3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501650" y="2249488"/>
            <a:ext cx="508000" cy="65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4748" name="Picture 3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474663" y="5516563"/>
            <a:ext cx="519112" cy="681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18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Kartonaža</a:t>
            </a:r>
            <a:endParaRPr lang="en-US" smtClean="0"/>
          </a:p>
        </p:txBody>
      </p:sp>
      <p:pic>
        <p:nvPicPr>
          <p:cNvPr id="221186" name="Picture 2" descr="C:\Users\simoens\Desktop\2010120165829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5800" y="2286000"/>
            <a:ext cx="3679825" cy="275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1187" name="Picture 7" descr="blister-pack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10188" y="2441575"/>
            <a:ext cx="1952625" cy="2359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1188" name="Picture 5" descr="89113_blisterpack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69138" y="3751263"/>
            <a:ext cx="882650" cy="141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1189" name="Picture 6" descr="Blister%20pack%201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553200" y="1855788"/>
            <a:ext cx="1187450" cy="157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1190" name="TextBox 9"/>
          <p:cNvSpPr txBox="1">
            <a:spLocks noChangeArrowheads="1"/>
          </p:cNvSpPr>
          <p:nvPr/>
        </p:nvSpPr>
        <p:spPr bwMode="auto">
          <a:xfrm>
            <a:off x="5364163" y="5380038"/>
            <a:ext cx="2862262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r-HR" sz="3200">
                <a:latin typeface="Calibri" pitchFamily="34" charset="0"/>
              </a:rPr>
              <a:t>Blister pakiranja</a:t>
            </a:r>
            <a:endParaRPr lang="en-US" sz="3200">
              <a:latin typeface="Calibri" pitchFamily="34" charset="0"/>
            </a:endParaRPr>
          </a:p>
        </p:txBody>
      </p:sp>
      <p:sp>
        <p:nvSpPr>
          <p:cNvPr id="221191" name="TextBox 8"/>
          <p:cNvSpPr txBox="1">
            <a:spLocks noChangeArrowheads="1"/>
          </p:cNvSpPr>
          <p:nvPr/>
        </p:nvSpPr>
        <p:spPr bwMode="auto">
          <a:xfrm>
            <a:off x="1905000" y="5334000"/>
            <a:ext cx="1258888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hr-HR" sz="3600">
                <a:latin typeface="Calibri" pitchFamily="34" charset="0"/>
              </a:rPr>
              <a:t>Kutije</a:t>
            </a:r>
            <a:endParaRPr lang="en-US" sz="3600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0" y="1600200"/>
            <a:ext cx="8275320" cy="5074920"/>
          </a:xfrm>
          <a:prstGeom prst="rect">
            <a:avLst/>
          </a:prstGeom>
          <a:gradFill>
            <a:gsLst>
              <a:gs pos="18000">
                <a:schemeClr val="tx1">
                  <a:alpha val="64000"/>
                </a:schemeClr>
              </a:gs>
              <a:gs pos="50000">
                <a:schemeClr val="tx1"/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113668" name="Picture 3"/>
          <p:cNvPicPr>
            <a:picLocks noChangeArrowheads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2654300" y="1570038"/>
            <a:ext cx="5607050" cy="5287962"/>
          </a:xfrm>
          <a:prstGeom prst="rect">
            <a:avLst/>
          </a:prstGeom>
          <a:noFill/>
          <a:ln w="25400">
            <a:noFill/>
            <a:miter lim="800000"/>
            <a:headEnd/>
            <a:tailEnd type="none" w="lg" len="sm"/>
          </a:ln>
        </p:spPr>
      </p:pic>
      <p:sp>
        <p:nvSpPr>
          <p:cNvPr id="113669" name="TextBox 5"/>
          <p:cNvSpPr txBox="1">
            <a:spLocks noChangeArrowheads="1"/>
          </p:cNvSpPr>
          <p:nvPr/>
        </p:nvSpPr>
        <p:spPr bwMode="auto">
          <a:xfrm>
            <a:off x="731838" y="3657600"/>
            <a:ext cx="1804987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400">
                <a:solidFill>
                  <a:schemeClr val="bg1"/>
                </a:solidFill>
                <a:latin typeface="Calibri" pitchFamily="34" charset="0"/>
                <a:ea typeface="ＭＳ Ｐゴシック"/>
                <a:cs typeface="ＭＳ Ｐゴシック"/>
              </a:rPr>
              <a:t>CMYK+OV</a:t>
            </a:r>
          </a:p>
        </p:txBody>
      </p:sp>
      <p:sp>
        <p:nvSpPr>
          <p:cNvPr id="113670" name="Rectangle 2"/>
          <p:cNvSpPr txBox="1">
            <a:spLocks noChangeArrowheads="1"/>
          </p:cNvSpPr>
          <p:nvPr/>
        </p:nvSpPr>
        <p:spPr bwMode="auto">
          <a:xfrm>
            <a:off x="685800" y="333375"/>
            <a:ext cx="7989888" cy="119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105000"/>
              </a:lnSpc>
            </a:pPr>
            <a:r>
              <a:rPr lang="hr-HR" sz="3600" b="1">
                <a:latin typeface="Futura"/>
              </a:rPr>
              <a:t>Svijet boja </a:t>
            </a:r>
            <a:r>
              <a:rPr lang="en-US" sz="3600" b="1">
                <a:latin typeface="Futura"/>
              </a:rPr>
              <a:t>HP Indigo</a:t>
            </a:r>
            <a:endParaRPr lang="en-US" sz="3600" b="1" i="1">
              <a:latin typeface="Futur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28613" y="257175"/>
            <a:ext cx="7223125" cy="2674938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HP Indigo 30000 Digital Pres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172200" y="1600200"/>
            <a:ext cx="2784475" cy="646113"/>
          </a:xfrm>
          <a:prstGeom prst="rect">
            <a:avLst/>
          </a:prstGeom>
          <a:solidFill>
            <a:srgbClr val="CCFF66"/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kern="0" dirty="0">
                <a:solidFill>
                  <a:sysClr val="windowText" lastClr="000000"/>
                </a:solidFill>
                <a:latin typeface="+mn-lt"/>
              </a:rPr>
              <a:t>Predstavljen na </a:t>
            </a:r>
            <a:r>
              <a:rPr lang="en-US" kern="0" dirty="0" err="1">
                <a:solidFill>
                  <a:sysClr val="windowText" lastClr="000000"/>
                </a:solidFill>
                <a:latin typeface="+mn-lt"/>
              </a:rPr>
              <a:t>Drupa</a:t>
            </a:r>
            <a:r>
              <a:rPr lang="hr-HR" kern="0" dirty="0">
                <a:solidFill>
                  <a:sysClr val="windowText" lastClr="000000"/>
                </a:solidFill>
                <a:latin typeface="+mn-lt"/>
              </a:rPr>
              <a:t> 2012</a:t>
            </a:r>
            <a:endParaRPr lang="en-US" kern="0" dirty="0">
              <a:solidFill>
                <a:sysClr val="windowText" lastClr="000000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kern="0" dirty="0">
                <a:solidFill>
                  <a:sysClr val="windowText" lastClr="000000"/>
                </a:solidFill>
                <a:latin typeface="+mn-lt"/>
              </a:rPr>
              <a:t>Očekivana prodaja </a:t>
            </a:r>
            <a:r>
              <a:rPr lang="en-US" kern="0" dirty="0">
                <a:solidFill>
                  <a:sysClr val="windowText" lastClr="000000"/>
                </a:solidFill>
                <a:latin typeface="+mn-lt"/>
              </a:rPr>
              <a:t>2014</a:t>
            </a:r>
            <a:endParaRPr lang="en-US" kern="0" dirty="0">
              <a:solidFill>
                <a:sysClr val="windowText" lastClr="000000"/>
              </a:solidFill>
              <a:latin typeface="+mn-lt"/>
            </a:endParaRPr>
          </a:p>
        </p:txBody>
      </p:sp>
      <p:pic>
        <p:nvPicPr>
          <p:cNvPr id="222211" name="Picture 3" descr="C:\Users\vaks\AppData\Local\Microsoft\Windows\Temporary Internet Files\Content.Outlook\YOIW1S3H\30000.jp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596" t="27484" r="1666" b="20023"/>
          <a:stretch>
            <a:fillRect/>
          </a:stretch>
        </p:blipFill>
        <p:spPr bwMode="auto">
          <a:xfrm>
            <a:off x="381000" y="2286000"/>
            <a:ext cx="8437563" cy="35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386" name="think-cell Slide" r:id="rId8" imgW="360" imgH="360" progId="">
              <p:embed/>
            </p:oleObj>
          </a:graphicData>
        </a:graphic>
      </p:graphicFrame>
      <p:pic>
        <p:nvPicPr>
          <p:cNvPr id="16387" name="Picture 4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-1588" y="2286000"/>
            <a:ext cx="9144001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8" name="Slide Number Placeholder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 bwMode="auto">
          <a:xfrm>
            <a:off x="457200" y="6356350"/>
            <a:ext cx="434975" cy="36512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9CA2317-8745-4759-A6C0-B3FCE9116BDC}" type="slidenum">
              <a:rPr lang="en-US">
                <a:solidFill>
                  <a:srgbClr val="5F6468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1</a:t>
            </a:fld>
            <a:endParaRPr lang="en-US">
              <a:solidFill>
                <a:srgbClr val="5F6468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762000" y="1143000"/>
          <a:ext cx="7696200" cy="179863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82700"/>
                <a:gridCol w="1282700"/>
                <a:gridCol w="1282700"/>
                <a:gridCol w="1282700"/>
                <a:gridCol w="1282700"/>
                <a:gridCol w="1282700"/>
              </a:tblGrid>
              <a:tr h="360673">
                <a:tc>
                  <a:txBody>
                    <a:bodyPr/>
                    <a:lstStyle/>
                    <a:p>
                      <a:pPr algn="ctr" rtl="0"/>
                      <a:r>
                        <a:rPr lang="en-US" sz="1400" b="0" dirty="0" smtClean="0">
                          <a:latin typeface="HP Display Beta Regular" pitchFamily="34" charset="0"/>
                        </a:rPr>
                        <a:t>Format</a:t>
                      </a:r>
                      <a:endParaRPr lang="en-US" sz="1400" b="0" dirty="0">
                        <a:latin typeface="HP Display Beta Regular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400" b="0" dirty="0" smtClean="0">
                          <a:latin typeface="HP Display Beta Regular" pitchFamily="34" charset="0"/>
                        </a:rPr>
                        <a:t>Thickness</a:t>
                      </a:r>
                      <a:endParaRPr lang="en-US" sz="1400" b="0" dirty="0">
                        <a:latin typeface="HP Display Beta Regular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HP Display Beta Regular" pitchFamily="34" charset="0"/>
                          <a:ea typeface="+mn-ea"/>
                          <a:cs typeface="+mn-cs"/>
                        </a:rPr>
                        <a:t>Inline Priming </a:t>
                      </a:r>
                      <a:endParaRPr lang="en-US" sz="1400" b="0" kern="1200" dirty="0">
                        <a:solidFill>
                          <a:schemeClr val="bg1"/>
                        </a:solidFill>
                        <a:latin typeface="HP Display Beta Regular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HP Display Beta Regular" pitchFamily="34" charset="0"/>
                          <a:ea typeface="+mn-ea"/>
                          <a:cs typeface="+mn-cs"/>
                        </a:rPr>
                        <a:t>On shot Process</a:t>
                      </a:r>
                      <a:endParaRPr lang="en-US" sz="1400" b="0" kern="1200" dirty="0">
                        <a:solidFill>
                          <a:schemeClr val="bg1"/>
                        </a:solidFill>
                        <a:latin typeface="HP Display Beta Regular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400" b="0" dirty="0" smtClean="0">
                          <a:latin typeface="HP Display Beta Regular" pitchFamily="34" charset="0"/>
                        </a:rPr>
                        <a:t>DFE</a:t>
                      </a:r>
                      <a:endParaRPr lang="en-US" sz="1400" b="0" dirty="0">
                        <a:latin typeface="HP Display Beta Regular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400" b="0" dirty="0" smtClean="0">
                          <a:latin typeface="HP Display Beta Regular" pitchFamily="34" charset="0"/>
                        </a:rPr>
                        <a:t>Inline Coater</a:t>
                      </a:r>
                      <a:endParaRPr lang="en-US" sz="1400" b="0" dirty="0">
                        <a:latin typeface="HP Display Beta Regular" pitchFamily="34" charset="0"/>
                      </a:endParaRPr>
                    </a:p>
                  </a:txBody>
                  <a:tcPr anchor="ctr"/>
                </a:tc>
              </a:tr>
              <a:tr h="706127">
                <a:tc>
                  <a:txBody>
                    <a:bodyPr/>
                    <a:lstStyle/>
                    <a:p>
                      <a:pPr algn="ctr" rtl="0"/>
                      <a:r>
                        <a:rPr lang="en-US" sz="1300" dirty="0" smtClean="0">
                          <a:latin typeface="HP Display Beta Light" pitchFamily="34" charset="0"/>
                        </a:rPr>
                        <a:t>750</a:t>
                      </a:r>
                      <a:r>
                        <a:rPr lang="en-US" sz="1300" baseline="0" dirty="0" smtClean="0">
                          <a:latin typeface="HP Display Beta Light" pitchFamily="34" charset="0"/>
                        </a:rPr>
                        <a:t> X 530 mm</a:t>
                      </a:r>
                      <a:endParaRPr lang="en-US" sz="1300" dirty="0" smtClean="0">
                        <a:latin typeface="HP Display Beta Light" pitchFamily="34" charset="0"/>
                      </a:endParaRPr>
                    </a:p>
                    <a:p>
                      <a:pPr algn="ctr" rtl="0"/>
                      <a:r>
                        <a:rPr lang="en-US" sz="1300" dirty="0" smtClean="0">
                          <a:latin typeface="HP Display Beta Light" pitchFamily="34" charset="0"/>
                        </a:rPr>
                        <a:t>29.5” x 21”</a:t>
                      </a:r>
                      <a:endParaRPr lang="en-US" sz="1300" dirty="0">
                        <a:solidFill>
                          <a:schemeClr val="tx1"/>
                        </a:solidFill>
                        <a:latin typeface="HP Display Beta Light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300" dirty="0" smtClean="0">
                          <a:latin typeface="HP Display Beta Light" pitchFamily="34" charset="0"/>
                        </a:rPr>
                        <a:t>200µ</a:t>
                      </a:r>
                      <a:r>
                        <a:rPr lang="en-US" sz="1300" baseline="0" dirty="0" smtClean="0">
                          <a:latin typeface="HP Display Beta Light" pitchFamily="34" charset="0"/>
                        </a:rPr>
                        <a:t> - </a:t>
                      </a:r>
                      <a:r>
                        <a:rPr lang="en-US" sz="1300" dirty="0" smtClean="0">
                          <a:latin typeface="HP Display Beta Light" pitchFamily="34" charset="0"/>
                        </a:rPr>
                        <a:t>600µ</a:t>
                      </a:r>
                    </a:p>
                    <a:p>
                      <a:pPr algn="ctr" rtl="0"/>
                      <a:r>
                        <a:rPr lang="en-US" sz="1300" dirty="0" smtClean="0">
                          <a:latin typeface="HP Display Beta Light" pitchFamily="34" charset="0"/>
                        </a:rPr>
                        <a:t>8</a:t>
                      </a:r>
                      <a:r>
                        <a:rPr lang="en-US" sz="1300" baseline="0" dirty="0" smtClean="0">
                          <a:latin typeface="HP Display Beta Light" pitchFamily="34" charset="0"/>
                        </a:rPr>
                        <a:t> – 24 </a:t>
                      </a:r>
                      <a:r>
                        <a:rPr lang="en-US" sz="1300" baseline="0" dirty="0" err="1" smtClean="0">
                          <a:latin typeface="HP Display Beta Light" pitchFamily="34" charset="0"/>
                        </a:rPr>
                        <a:t>pts</a:t>
                      </a:r>
                      <a:endParaRPr lang="en-US" sz="1300" dirty="0">
                        <a:latin typeface="HP Display Beta Light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300" kern="1200" dirty="0" smtClean="0">
                          <a:solidFill>
                            <a:schemeClr val="tx1"/>
                          </a:solidFill>
                          <a:latin typeface="HP Display Beta Light" pitchFamily="34" charset="0"/>
                          <a:ea typeface="+mn-ea"/>
                          <a:cs typeface="+mn-cs"/>
                        </a:rPr>
                        <a:t>Any FC material including metalized and synthetics 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HP Display Beta Light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300" kern="1200" dirty="0" smtClean="0">
                          <a:solidFill>
                            <a:schemeClr val="tx1"/>
                          </a:solidFill>
                          <a:latin typeface="HP Display Beta Light" pitchFamily="34" charset="0"/>
                          <a:ea typeface="+mn-ea"/>
                          <a:cs typeface="+mn-cs"/>
                        </a:rPr>
                        <a:t>Best registration with no curl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HP Display Beta Light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300" kern="1200" dirty="0" smtClean="0">
                          <a:latin typeface="HP Display Beta Light" pitchFamily="34" charset="0"/>
                        </a:rPr>
                        <a:t>SmartStream Packaging Print Server Powered By Esk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300" dirty="0" smtClean="0">
                          <a:latin typeface="HP Display Beta Light" pitchFamily="34" charset="0"/>
                        </a:rPr>
                        <a:t>Inline Selective Coater Option (UV or water based)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11150" y="1143000"/>
            <a:ext cx="2684463" cy="461963"/>
          </a:xfrm>
        </p:spPr>
        <p:txBody>
          <a:bodyPr rtlCol="0">
            <a:sp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400" b="1" dirty="0" smtClean="0">
                <a:solidFill>
                  <a:prstClr val="black"/>
                </a:solidFill>
                <a:latin typeface="Futura"/>
                <a:ea typeface="+mn-ea"/>
                <a:cs typeface="Arial" pitchFamily="34" charset="0"/>
              </a:rPr>
              <a:t>The right format</a:t>
            </a:r>
            <a:endParaRPr lang="en-US" sz="2400" b="1" dirty="0">
              <a:solidFill>
                <a:prstClr val="black"/>
              </a:solidFill>
              <a:latin typeface="Futura"/>
              <a:ea typeface="+mn-ea"/>
              <a:cs typeface="Arial" pitchFamily="34" charset="0"/>
            </a:endParaRPr>
          </a:p>
        </p:txBody>
      </p:sp>
      <p:sp>
        <p:nvSpPr>
          <p:cNvPr id="226306" name="正方形/長方形 33"/>
          <p:cNvSpPr>
            <a:spLocks noChangeArrowheads="1"/>
          </p:cNvSpPr>
          <p:nvPr/>
        </p:nvSpPr>
        <p:spPr bwMode="auto">
          <a:xfrm>
            <a:off x="3657600" y="2133600"/>
            <a:ext cx="5257800" cy="397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>
                <a:latin typeface="HP Display Beta Regular"/>
              </a:rPr>
              <a:t>arak </a:t>
            </a:r>
            <a:r>
              <a:rPr lang="en-US">
                <a:latin typeface="HP Display Beta Regular"/>
              </a:rPr>
              <a:t>75cm X 53cm /29” X 21” </a:t>
            </a:r>
            <a:endParaRPr lang="hr-HR">
              <a:latin typeface="HP Display Beta Regular"/>
            </a:endParaRPr>
          </a:p>
          <a:p>
            <a:r>
              <a:rPr lang="hr-HR">
                <a:latin typeface="HP Display Beta Regular"/>
              </a:rPr>
              <a:t>na njega se može smijestiti većina kutija</a:t>
            </a:r>
          </a:p>
          <a:p>
            <a:endParaRPr lang="en-US" b="1">
              <a:latin typeface="HP Display Beta Regular"/>
            </a:endParaRPr>
          </a:p>
          <a:p>
            <a:r>
              <a:rPr lang="hr-HR">
                <a:latin typeface="HP Display Beta Regular"/>
              </a:rPr>
              <a:t>Format koji se lagano uklapa u postojeću proizvodnju</a:t>
            </a:r>
            <a:endParaRPr lang="en-US">
              <a:latin typeface="HP Display Beta Regular"/>
            </a:endParaRPr>
          </a:p>
          <a:p>
            <a:endParaRPr lang="en-US">
              <a:latin typeface="HP Display Beta Regular"/>
            </a:endParaRPr>
          </a:p>
          <a:p>
            <a:r>
              <a:rPr lang="en-US">
                <a:latin typeface="HP Display Beta Regular"/>
              </a:rPr>
              <a:t>75cm X 53cm /29” X 21” </a:t>
            </a:r>
            <a:r>
              <a:rPr lang="hr-HR">
                <a:latin typeface="HP Display Beta Regular"/>
              </a:rPr>
              <a:t>arak je kompatibilan s radnim tijekom (workflow) i s doradnim strojevima</a:t>
            </a:r>
            <a:endParaRPr lang="en-US">
              <a:latin typeface="HP Display Beta Regular"/>
            </a:endParaRPr>
          </a:p>
          <a:p>
            <a:endParaRPr lang="en-US">
              <a:latin typeface="HP Display Beta Regular"/>
            </a:endParaRPr>
          </a:p>
          <a:p>
            <a:r>
              <a:rPr lang="hr-HR">
                <a:latin typeface="HP Display Beta Regular"/>
              </a:rPr>
              <a:t>Za male naklade format</a:t>
            </a:r>
            <a:r>
              <a:rPr lang="en-US">
                <a:latin typeface="HP Display Beta Regular"/>
              </a:rPr>
              <a:t> 75cm X 53cm /29” X 21” </a:t>
            </a:r>
            <a:r>
              <a:rPr lang="hr-HR">
                <a:latin typeface="HP Display Beta Regular"/>
              </a:rPr>
              <a:t>je bolji od dominatnog formata </a:t>
            </a:r>
            <a:r>
              <a:rPr lang="en-US">
                <a:latin typeface="HP Display Beta Regular"/>
              </a:rPr>
              <a:t>70 X 100 / 28’’ X 40’’</a:t>
            </a:r>
            <a:r>
              <a:rPr lang="hr-HR">
                <a:latin typeface="HP Display Beta Regular"/>
              </a:rPr>
              <a:t>. Štedi vrijeme te smanjuje trošak pripreme na doradnim strojevima (zbog manjeg broja kutija na otisnutom arku)</a:t>
            </a:r>
            <a:endParaRPr lang="en-US">
              <a:latin typeface="HP Display Beta Regular"/>
            </a:endParaRPr>
          </a:p>
        </p:txBody>
      </p:sp>
      <p:sp>
        <p:nvSpPr>
          <p:cNvPr id="226307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04800" y="115888"/>
            <a:ext cx="87630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457200">
              <a:buClr>
                <a:srgbClr val="00A4E4"/>
              </a:buClr>
            </a:pPr>
            <a:r>
              <a:rPr lang="hr-HR" sz="3600" b="1">
                <a:solidFill>
                  <a:srgbClr val="000000"/>
                </a:solidFill>
                <a:latin typeface="HP Display Beta Light"/>
              </a:rPr>
              <a:t>HP INDIGO 30000</a:t>
            </a:r>
            <a:endParaRPr lang="en-US" sz="3600" b="1">
              <a:solidFill>
                <a:srgbClr val="000000"/>
              </a:solidFill>
              <a:latin typeface="HP Display Beta Light"/>
            </a:endParaRPr>
          </a:p>
        </p:txBody>
      </p:sp>
      <p:pic>
        <p:nvPicPr>
          <p:cNvPr id="226308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57175" y="2057400"/>
            <a:ext cx="279241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/>
          <p:cNvSpPr/>
          <p:nvPr/>
        </p:nvSpPr>
        <p:spPr>
          <a:xfrm>
            <a:off x="227013" y="3657600"/>
            <a:ext cx="2700337" cy="190817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226310" name="Group 7"/>
          <p:cNvGrpSpPr>
            <a:grpSpLocks/>
          </p:cNvGrpSpPr>
          <p:nvPr/>
        </p:nvGrpSpPr>
        <p:grpSpPr bwMode="auto">
          <a:xfrm>
            <a:off x="227013" y="3352800"/>
            <a:ext cx="2700337" cy="215900"/>
            <a:chOff x="227088" y="3550920"/>
            <a:chExt cx="2700000" cy="215444"/>
          </a:xfrm>
        </p:grpSpPr>
        <p:cxnSp>
          <p:nvCxnSpPr>
            <p:cNvPr id="6" name="Straight Arrow Connector 5"/>
            <p:cNvCxnSpPr/>
            <p:nvPr/>
          </p:nvCxnSpPr>
          <p:spPr>
            <a:xfrm>
              <a:off x="227088" y="3657058"/>
              <a:ext cx="2700000" cy="0"/>
            </a:xfrm>
            <a:prstGeom prst="straightConnector1">
              <a:avLst/>
            </a:prstGeom>
            <a:ln w="19050"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6314" name="TextBox 6"/>
            <p:cNvSpPr txBox="1">
              <a:spLocks noChangeArrowheads="1"/>
            </p:cNvSpPr>
            <p:nvPr/>
          </p:nvSpPr>
          <p:spPr bwMode="auto">
            <a:xfrm>
              <a:off x="1321818" y="3550920"/>
              <a:ext cx="510540" cy="21544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US" sz="1400">
                  <a:latin typeface="HP Display Beta Light"/>
                </a:rPr>
                <a:t>75 cm</a:t>
              </a:r>
            </a:p>
          </p:txBody>
        </p:sp>
      </p:grpSp>
      <p:cxnSp>
        <p:nvCxnSpPr>
          <p:cNvPr id="18" name="Straight Arrow Connector 17"/>
          <p:cNvCxnSpPr/>
          <p:nvPr/>
        </p:nvCxnSpPr>
        <p:spPr>
          <a:xfrm>
            <a:off x="3157538" y="3657600"/>
            <a:ext cx="0" cy="1908175"/>
          </a:xfrm>
          <a:prstGeom prst="straightConnector1">
            <a:avLst/>
          </a:prstGeom>
          <a:ln w="1905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312" name="TextBox 18"/>
          <p:cNvSpPr txBox="1">
            <a:spLocks noChangeArrowheads="1"/>
          </p:cNvSpPr>
          <p:nvPr/>
        </p:nvSpPr>
        <p:spPr bwMode="auto">
          <a:xfrm rot="5400000">
            <a:off x="2884488" y="4729163"/>
            <a:ext cx="546100" cy="2159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n-US" sz="1400">
                <a:latin typeface="HP Display Beta Light"/>
              </a:rPr>
              <a:t>53 cm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338" name="think-cell Slide" r:id="rId10" imgW="360" imgH="360" progId="">
              <p:embed/>
            </p:oleObj>
          </a:graphicData>
        </a:graphic>
      </p:graphicFrame>
      <p:pic>
        <p:nvPicPr>
          <p:cNvPr id="14339" name="Picture 43" descr="C:\Users\vaks\Documents\BP&amp;A\Drafts\drupa\Cheat Sheet\Pics\icons\ICONS_C-38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228600" y="2238375"/>
            <a:ext cx="1800225" cy="2208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0" name="Picture 33" descr="C:\Users\vaks\Documents\BP&amp;A\Drafts\drupa\Cheat Sheet\Pics\icons\ICONS_C-10.jp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1600200" y="3838575"/>
            <a:ext cx="1800225" cy="2208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3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6200" y="1295400"/>
            <a:ext cx="8305800" cy="646113"/>
          </a:xfrm>
        </p:spPr>
        <p:txBody>
          <a:bodyPr rtlCol="0">
            <a:sp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hr-HR" sz="3600" b="1" dirty="0" smtClean="0">
                <a:solidFill>
                  <a:prstClr val="black"/>
                </a:solidFill>
                <a:latin typeface="Futura"/>
                <a:ea typeface="+mn-ea"/>
                <a:cs typeface="Arial" pitchFamily="34" charset="0"/>
              </a:rPr>
              <a:t>Fleksibilnost   HP INDIGO 30000</a:t>
            </a:r>
            <a:endParaRPr lang="en-US" sz="3600" b="1" dirty="0">
              <a:solidFill>
                <a:prstClr val="black"/>
              </a:solidFill>
              <a:latin typeface="Futura"/>
              <a:ea typeface="+mn-ea"/>
              <a:cs typeface="Arial" pitchFamily="34" charset="0"/>
            </a:endParaRPr>
          </a:p>
        </p:txBody>
      </p:sp>
      <p:sp>
        <p:nvSpPr>
          <p:cNvPr id="14342" name="正方形/長方形 3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733800" y="2238375"/>
            <a:ext cx="5257800" cy="347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2000">
                <a:latin typeface="Futura"/>
              </a:rPr>
              <a:t>Jedina za Inline prajmeriranje omogućava tiska na postojećim materijalima za tisak</a:t>
            </a:r>
            <a:endParaRPr lang="en-US" sz="2000">
              <a:latin typeface="Futura"/>
            </a:endParaRPr>
          </a:p>
          <a:p>
            <a:endParaRPr lang="en-US" sz="2000">
              <a:latin typeface="Futura"/>
            </a:endParaRPr>
          </a:p>
          <a:p>
            <a:r>
              <a:rPr lang="hr-HR" sz="2000">
                <a:latin typeface="Futura"/>
              </a:rPr>
              <a:t>Debljine od </a:t>
            </a:r>
            <a:r>
              <a:rPr lang="en-US" sz="2000">
                <a:latin typeface="Futura"/>
              </a:rPr>
              <a:t>200µ </a:t>
            </a:r>
            <a:r>
              <a:rPr lang="hr-HR" sz="2000">
                <a:latin typeface="Futura"/>
              </a:rPr>
              <a:t>do</a:t>
            </a:r>
            <a:r>
              <a:rPr lang="en-US" sz="2000">
                <a:latin typeface="Futura"/>
              </a:rPr>
              <a:t> 600µ </a:t>
            </a:r>
            <a:r>
              <a:rPr lang="hr-HR" sz="2000">
                <a:latin typeface="Futura"/>
              </a:rPr>
              <a:t>pokrivaju 90% današnjeg tržišta</a:t>
            </a:r>
            <a:endParaRPr lang="en-US" sz="2000">
              <a:latin typeface="Futura"/>
            </a:endParaRPr>
          </a:p>
          <a:p>
            <a:endParaRPr lang="en-US" sz="2000" b="1">
              <a:latin typeface="Futura"/>
            </a:endParaRPr>
          </a:p>
          <a:p>
            <a:r>
              <a:rPr lang="en-US" sz="2000">
                <a:latin typeface="Futura"/>
              </a:rPr>
              <a:t>HP Indigo</a:t>
            </a:r>
            <a:r>
              <a:rPr lang="hr-HR" sz="2000">
                <a:latin typeface="Futura"/>
              </a:rPr>
              <a:t> jedinstvena </a:t>
            </a:r>
            <a:r>
              <a:rPr lang="en-US" sz="2000">
                <a:latin typeface="Futura"/>
              </a:rPr>
              <a:t>ElectroInk </a:t>
            </a:r>
            <a:r>
              <a:rPr lang="hr-HR" sz="2000">
                <a:latin typeface="Futura"/>
              </a:rPr>
              <a:t>tehnologija omogućava tisaka na metalizirane i sintetičke podloge</a:t>
            </a:r>
            <a:endParaRPr lang="en-US" sz="2000" b="1">
              <a:latin typeface="Futura"/>
            </a:endParaRPr>
          </a:p>
          <a:p>
            <a:endParaRPr lang="en-US" sz="2000" b="1">
              <a:latin typeface="Futura"/>
            </a:endParaRPr>
          </a:p>
          <a:p>
            <a:r>
              <a:rPr lang="hr-HR" sz="2000">
                <a:latin typeface="Futura"/>
              </a:rPr>
              <a:t>Mogućnost tiska na reciklirane kartone.</a:t>
            </a:r>
            <a:endParaRPr lang="en-US" sz="2000">
              <a:latin typeface="Futura"/>
            </a:endParaRPr>
          </a:p>
        </p:txBody>
      </p:sp>
      <p:sp>
        <p:nvSpPr>
          <p:cNvPr id="14343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657600" y="236538"/>
            <a:ext cx="54102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>
              <a:buClr>
                <a:srgbClr val="00A4E4"/>
              </a:buClr>
            </a:pPr>
            <a:endParaRPr lang="hr-HR" sz="2400">
              <a:solidFill>
                <a:srgbClr val="000000"/>
              </a:solidFill>
              <a:latin typeface="HP Display Beta Ligh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86E620-D121-4740-AC07-5EBCB0443C40}" type="slidenum">
              <a:rPr lang="en-US">
                <a:latin typeface="HP Display Beta Regular" pitchFamily="34" charset="0"/>
              </a:rPr>
              <a:pPr>
                <a:defRPr/>
              </a:pPr>
              <a:t>64</a:t>
            </a:fld>
            <a:endParaRPr lang="en-US" dirty="0">
              <a:latin typeface="HP Display Beta Regular" pitchFamily="34" charset="0"/>
            </a:endParaRPr>
          </a:p>
        </p:txBody>
      </p:sp>
      <p:grpSp>
        <p:nvGrpSpPr>
          <p:cNvPr id="231426" name="Group 72"/>
          <p:cNvGrpSpPr>
            <a:grpSpLocks/>
          </p:cNvGrpSpPr>
          <p:nvPr/>
        </p:nvGrpSpPr>
        <p:grpSpPr bwMode="auto">
          <a:xfrm>
            <a:off x="57150" y="1773238"/>
            <a:ext cx="3562350" cy="2433637"/>
            <a:chOff x="57041" y="1415391"/>
            <a:chExt cx="3562033" cy="2433466"/>
          </a:xfrm>
        </p:grpSpPr>
        <p:sp>
          <p:nvSpPr>
            <p:cNvPr id="231428" name="Rectangle 7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7041" y="1415391"/>
              <a:ext cx="3562033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2800" b="1">
                  <a:solidFill>
                    <a:srgbClr val="000000"/>
                  </a:solidFill>
                  <a:latin typeface="HP Display Beta Regular"/>
                  <a:cs typeface="Arial" charset="0"/>
                </a:rPr>
                <a:t>HP Indigo Quality</a:t>
              </a:r>
            </a:p>
          </p:txBody>
        </p:sp>
        <p:pic>
          <p:nvPicPr>
            <p:cNvPr id="231429" name="Picture 6" descr="http://zentx.files.wordpress.com/2010/11/cmyk_rgb.jpg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199874" y="2336689"/>
              <a:ext cx="3276366" cy="1512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31427" name="Rectangle 75"/>
          <p:cNvSpPr>
            <a:spLocks noChangeArrowheads="1"/>
          </p:cNvSpPr>
          <p:nvPr/>
        </p:nvSpPr>
        <p:spPr bwMode="auto">
          <a:xfrm>
            <a:off x="3768725" y="588963"/>
            <a:ext cx="5111750" cy="535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en-US">
                <a:solidFill>
                  <a:srgbClr val="000000"/>
                </a:solidFill>
                <a:latin typeface="HP Display Beta Regular"/>
              </a:rPr>
              <a:t>ElectroInk </a:t>
            </a:r>
            <a:r>
              <a:rPr lang="hr-HR">
                <a:solidFill>
                  <a:srgbClr val="000000"/>
                </a:solidFill>
                <a:latin typeface="HP Display Beta Regular"/>
              </a:rPr>
              <a:t>i sam</a:t>
            </a:r>
            <a:r>
              <a:rPr lang="en-US">
                <a:solidFill>
                  <a:srgbClr val="000000"/>
                </a:solidFill>
                <a:latin typeface="HP Display Beta Regular"/>
              </a:rPr>
              <a:t> Indigo </a:t>
            </a:r>
            <a:r>
              <a:rPr lang="hr-HR">
                <a:solidFill>
                  <a:srgbClr val="000000"/>
                </a:solidFill>
                <a:latin typeface="HP Display Beta Regular"/>
              </a:rPr>
              <a:t>proces omogućavaju tisak jasnih linija, glatkih vinjeta i atraktivnih slika</a:t>
            </a:r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r>
              <a:rPr lang="hr-HR">
                <a:solidFill>
                  <a:srgbClr val="000000"/>
                </a:solidFill>
                <a:latin typeface="HP Display Beta Regular"/>
              </a:rPr>
              <a:t>Vrlo tanak sloj boje na podlozi</a:t>
            </a:r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r>
              <a:rPr lang="hr-HR">
                <a:solidFill>
                  <a:srgbClr val="000000"/>
                </a:solidFill>
                <a:latin typeface="HP Display Beta Regular"/>
              </a:rPr>
              <a:t>Do 7 kolornih modula, </a:t>
            </a:r>
            <a:r>
              <a:rPr lang="en-US">
                <a:solidFill>
                  <a:srgbClr val="000000"/>
                </a:solidFill>
                <a:latin typeface="HP Display Beta Regular"/>
              </a:rPr>
              <a:t>Up to 7 ink stations, </a:t>
            </a:r>
            <a:r>
              <a:rPr lang="hr-HR">
                <a:solidFill>
                  <a:srgbClr val="000000"/>
                </a:solidFill>
                <a:latin typeface="HP Display Beta Regular"/>
              </a:rPr>
              <a:t>prošireni kolor gamut, ElectroInk bijela i ostale posebne boje</a:t>
            </a:r>
          </a:p>
          <a:p>
            <a:pPr defTabSz="457200"/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r>
              <a:rPr lang="hr-HR">
                <a:solidFill>
                  <a:srgbClr val="000000"/>
                </a:solidFill>
                <a:latin typeface="HP Display Beta Regular"/>
              </a:rPr>
              <a:t>Tisak sa </a:t>
            </a:r>
            <a:r>
              <a:rPr lang="en-US">
                <a:solidFill>
                  <a:srgbClr val="000000"/>
                </a:solidFill>
                <a:latin typeface="HP Display Beta Regular"/>
              </a:rPr>
              <a:t>4-, 6- </a:t>
            </a:r>
            <a:r>
              <a:rPr lang="hr-HR">
                <a:solidFill>
                  <a:srgbClr val="000000"/>
                </a:solidFill>
                <a:latin typeface="HP Display Beta Regular"/>
              </a:rPr>
              <a:t>ili</a:t>
            </a:r>
            <a:r>
              <a:rPr lang="en-US">
                <a:solidFill>
                  <a:srgbClr val="000000"/>
                </a:solidFill>
                <a:latin typeface="HP Display Beta Regular"/>
              </a:rPr>
              <a:t> 7-</a:t>
            </a:r>
            <a:r>
              <a:rPr lang="hr-HR">
                <a:solidFill>
                  <a:srgbClr val="000000"/>
                </a:solidFill>
                <a:latin typeface="HP Display Beta Regular"/>
              </a:rPr>
              <a:t> procesnih boja za tisak prezinih Pantone emulacija</a:t>
            </a:r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r>
              <a:rPr lang="hr-HR">
                <a:solidFill>
                  <a:srgbClr val="000000"/>
                </a:solidFill>
                <a:latin typeface="HP Display Beta Regular"/>
              </a:rPr>
              <a:t>Spot boje, miješanje u Ink Mixing Stationa, Pantone certificirane boje</a:t>
            </a:r>
            <a:endParaRPr lang="en-US">
              <a:solidFill>
                <a:srgbClr val="000000"/>
              </a:solidFill>
              <a:latin typeface="HP Display Beta Regular"/>
            </a:endParaRPr>
          </a:p>
          <a:p>
            <a:pPr defTabSz="457200"/>
            <a:endParaRPr lang="en-US">
              <a:latin typeface="HP Display Beta Regular"/>
            </a:endParaRPr>
          </a:p>
          <a:p>
            <a:pPr defTabSz="457200"/>
            <a:r>
              <a:rPr lang="hr-HR">
                <a:latin typeface="HP Display Beta Regular"/>
              </a:rPr>
              <a:t>Tisak etiketa i ambalaže u preko 120 zemalja za najpoznatije brendove i </a:t>
            </a:r>
            <a:r>
              <a:rPr lang="hr-HR" b="1">
                <a:latin typeface="HP Display Beta Regular"/>
              </a:rPr>
              <a:t>otisci odgovarajući klasičnom ofsetu u više od 1000 pogona u svijetu.</a:t>
            </a:r>
            <a:endParaRPr lang="en-US" b="1">
              <a:latin typeface="HP Display Beta Regular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47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3167063" y="2209800"/>
            <a:ext cx="5889625" cy="4462463"/>
          </a:xfrm>
        </p:spPr>
        <p:txBody>
          <a:bodyPr>
            <a:spAutoFit/>
          </a:bodyPr>
          <a:lstStyle/>
          <a:p>
            <a:pPr marL="0" indent="0">
              <a:buFont typeface="Arial" charset="0"/>
              <a:buNone/>
            </a:pPr>
            <a:r>
              <a:rPr lang="hr-HR" sz="2000" b="1" smtClean="0">
                <a:latin typeface="Futura"/>
              </a:rPr>
              <a:t>Male naklade </a:t>
            </a:r>
            <a:r>
              <a:rPr lang="hr-HR" sz="2000" smtClean="0">
                <a:latin typeface="Futura"/>
              </a:rPr>
              <a:t>su generalno kategorizirane kao poslovi ispod 2000 araka</a:t>
            </a:r>
            <a:endParaRPr lang="en-US" sz="2000" smtClean="0">
              <a:latin typeface="Futura"/>
            </a:endParaRPr>
          </a:p>
          <a:p>
            <a:pPr marL="0" indent="0">
              <a:buFont typeface="Arial" charset="0"/>
              <a:buNone/>
            </a:pPr>
            <a:r>
              <a:rPr lang="en-US" sz="2000" smtClean="0">
                <a:latin typeface="Futura"/>
              </a:rPr>
              <a:t> </a:t>
            </a:r>
          </a:p>
          <a:p>
            <a:pPr marL="0" indent="0">
              <a:buFont typeface="Arial" charset="0"/>
              <a:buNone/>
            </a:pPr>
            <a:r>
              <a:rPr lang="hr-HR" sz="2000" smtClean="0">
                <a:latin typeface="Futura"/>
                <a:sym typeface="Wingdings" pitchFamily="2" charset="2"/>
              </a:rPr>
              <a:t>Takvi poslovi obično trebaju 30 do 60 minuta za pripremu stroja i najčešće 200 a ponekad i 500 araka za pripremu.</a:t>
            </a:r>
            <a:endParaRPr lang="en-US" sz="2000" smtClean="0">
              <a:latin typeface="Futura"/>
              <a:sym typeface="Wingdings" pitchFamily="2" charset="2"/>
            </a:endParaRPr>
          </a:p>
          <a:p>
            <a:pPr marL="0" indent="0">
              <a:buFont typeface="Arial" charset="0"/>
              <a:buNone/>
            </a:pPr>
            <a:endParaRPr lang="en-US" sz="2000" smtClean="0">
              <a:latin typeface="Futura"/>
              <a:sym typeface="Wingdings" pitchFamily="2" charset="2"/>
            </a:endParaRPr>
          </a:p>
          <a:p>
            <a:pPr marL="0" indent="0">
              <a:buFont typeface="Arial" charset="0"/>
              <a:buNone/>
            </a:pPr>
            <a:r>
              <a:rPr lang="hr-HR" sz="2000" smtClean="0">
                <a:latin typeface="Futura"/>
                <a:sym typeface="Wingdings" pitchFamily="2" charset="2"/>
              </a:rPr>
              <a:t>Proces tiska traje 8 do 12 minuta, tako da je iskoristivost stroja samo 17 do 22% uz kator otpada od 10 do 25% po poslu.</a:t>
            </a:r>
            <a:endParaRPr lang="en-US" sz="2000" smtClean="0">
              <a:latin typeface="Futura"/>
              <a:sym typeface="Wingdings" pitchFamily="2" charset="2"/>
            </a:endParaRPr>
          </a:p>
          <a:p>
            <a:pPr marL="0" indent="0">
              <a:buFont typeface="Arial" charset="0"/>
              <a:buNone/>
            </a:pPr>
            <a:endParaRPr lang="en-US" sz="2000" smtClean="0">
              <a:latin typeface="Futura"/>
              <a:sym typeface="Wingdings" pitchFamily="2" charset="2"/>
            </a:endParaRPr>
          </a:p>
          <a:p>
            <a:pPr marL="0" indent="0">
              <a:buFont typeface="Arial" charset="0"/>
              <a:buNone/>
            </a:pPr>
            <a:r>
              <a:rPr lang="hr-HR" sz="2000" smtClean="0">
                <a:latin typeface="Futura"/>
              </a:rPr>
              <a:t>Mnoge tiskare već sada imaju 10 do 15% poslova koje spadaju u male naklade</a:t>
            </a:r>
            <a:endParaRPr lang="en-US" sz="2000" smtClean="0">
              <a:latin typeface="Futura"/>
            </a:endParaRPr>
          </a:p>
        </p:txBody>
      </p:sp>
      <p:pic>
        <p:nvPicPr>
          <p:cNvPr id="233474" name="Picture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28600" y="2382838"/>
            <a:ext cx="2362200" cy="211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3475" name="Rectangl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144463" y="1752600"/>
            <a:ext cx="3240088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r-HR" sz="2800" b="1">
                <a:solidFill>
                  <a:srgbClr val="000000"/>
                </a:solidFill>
                <a:latin typeface="HP Display Beta Regular"/>
                <a:cs typeface="Arial" charset="0"/>
              </a:rPr>
              <a:t>Potreba tržišta</a:t>
            </a:r>
            <a:endParaRPr lang="en-US" sz="2800" b="1">
              <a:solidFill>
                <a:srgbClr val="000000"/>
              </a:solidFill>
              <a:latin typeface="HP Display Beta Regular"/>
              <a:cs typeface="Arial" charset="0"/>
            </a:endParaRPr>
          </a:p>
        </p:txBody>
      </p:sp>
      <p:sp>
        <p:nvSpPr>
          <p:cNvPr id="233476" name="Rectangl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167063" y="457200"/>
            <a:ext cx="5976937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2400">
                <a:solidFill>
                  <a:srgbClr val="000000"/>
                </a:solidFill>
                <a:latin typeface="Futura"/>
              </a:rPr>
              <a:t>Smanjenje naklada i povećanje broja poslova kreirale su potrebu za digitalnim rješenjem koje kvalitetom odgovara ofsetu u kartonaži.</a:t>
            </a:r>
            <a:endParaRPr lang="en-US" sz="2400">
              <a:solidFill>
                <a:srgbClr val="000000"/>
              </a:solidFill>
              <a:latin typeface="Futur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362" name="think-cell Slide" r:id="rId9" imgW="360" imgH="360" progId="">
              <p:embed/>
            </p:oleObj>
          </a:graphicData>
        </a:graphic>
      </p:graphicFrame>
      <p:pic>
        <p:nvPicPr>
          <p:cNvPr id="15363" name="Picture 4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114300" y="2362200"/>
            <a:ext cx="3086100" cy="178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304800" y="115888"/>
            <a:ext cx="8642350" cy="646112"/>
          </a:xfrm>
        </p:spPr>
        <p:txBody>
          <a:bodyPr rtlCol="0" anchor="t">
            <a:sp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hr-HR" sz="3600" dirty="0" smtClean="0">
                <a:solidFill>
                  <a:prstClr val="black"/>
                </a:solidFill>
                <a:latin typeface="Futura"/>
                <a:ea typeface="+mn-ea"/>
                <a:cs typeface="Arial" pitchFamily="34" charset="0"/>
              </a:rPr>
              <a:t>Podudaranje s ofsetom je osnovni zahtjev</a:t>
            </a:r>
            <a:endParaRPr lang="en-US" sz="3600" dirty="0">
              <a:solidFill>
                <a:prstClr val="black"/>
              </a:solidFill>
              <a:latin typeface="Futura"/>
              <a:ea typeface="+mn-ea"/>
              <a:cs typeface="Arial" pitchFamily="34" charset="0"/>
            </a:endParaRPr>
          </a:p>
        </p:txBody>
      </p:sp>
      <p:sp>
        <p:nvSpPr>
          <p:cNvPr id="15365" name="Text Placeholder 2"/>
          <p:cNvSpPr>
            <a:spLocks noGrp="1"/>
          </p:cNvSpPr>
          <p:nvPr>
            <p:ph type="body" sz="quarter" idx="4294967295"/>
            <p:custDataLst>
              <p:tags r:id="rId5"/>
            </p:custDataLst>
          </p:nvPr>
        </p:nvSpPr>
        <p:spPr>
          <a:xfrm>
            <a:off x="3200400" y="2133600"/>
            <a:ext cx="5943600" cy="4340225"/>
          </a:xfrm>
        </p:spPr>
        <p:txBody>
          <a:bodyPr>
            <a:spAutoFit/>
          </a:bodyPr>
          <a:lstStyle/>
          <a:p>
            <a:pPr marL="0" indent="0">
              <a:buFont typeface="Arial" charset="0"/>
              <a:buNone/>
            </a:pPr>
            <a:r>
              <a:rPr lang="en-US" sz="2000" smtClean="0">
                <a:latin typeface="HP Display Beta Regular"/>
              </a:rPr>
              <a:t>HP Indigo </a:t>
            </a:r>
            <a:r>
              <a:rPr lang="hr-HR" sz="2000" smtClean="0">
                <a:latin typeface="HP Display Beta Regular"/>
              </a:rPr>
              <a:t>je jedina digitalna tehnologija koja je dokazala “u praksi” da može parirati kvaliteti tiska, “look and feel” zahtjevima koju su postavljeni klasičnim analognim ofsetom.</a:t>
            </a:r>
          </a:p>
          <a:p>
            <a:pPr marL="0" indent="0">
              <a:buFont typeface="Arial" charset="0"/>
              <a:buNone/>
            </a:pPr>
            <a:endParaRPr lang="en-US" sz="2000" smtClean="0">
              <a:latin typeface="HP Display Beta Regular"/>
            </a:endParaRPr>
          </a:p>
          <a:p>
            <a:pPr marL="4763" lvl="1" indent="0">
              <a:buFont typeface="Arial" charset="0"/>
              <a:buNone/>
            </a:pPr>
            <a:r>
              <a:rPr lang="hr-HR" sz="2000" smtClean="0">
                <a:latin typeface="HP Display Beta Regular"/>
              </a:rPr>
              <a:t>Indigo tehnologija je odobrena za tisak pakiranja od strane globalnih brendova kao što su:</a:t>
            </a:r>
            <a:r>
              <a:rPr lang="en-US" sz="2000" smtClean="0">
                <a:latin typeface="HP Display Beta Regular"/>
              </a:rPr>
              <a:t> P&amp;G, Nestle, L'Oreal, Coca Cola, Heineken, Sony</a:t>
            </a:r>
            <a:r>
              <a:rPr lang="hr-HR" sz="2000" smtClean="0">
                <a:latin typeface="HP Display Beta Regular"/>
              </a:rPr>
              <a:t> i dr.</a:t>
            </a:r>
            <a:endParaRPr lang="en-US" sz="2000" smtClean="0">
              <a:latin typeface="HP Display Beta Regular"/>
            </a:endParaRPr>
          </a:p>
          <a:p>
            <a:pPr marL="4763" lvl="1" indent="0">
              <a:buFont typeface="Arial" charset="0"/>
              <a:buNone/>
            </a:pPr>
            <a:endParaRPr lang="en-US" sz="2000" smtClean="0">
              <a:latin typeface="HP Display Beta Regular"/>
            </a:endParaRPr>
          </a:p>
          <a:p>
            <a:pPr marL="4763" lvl="1" indent="0">
              <a:buFont typeface="Arial" charset="0"/>
              <a:buNone/>
            </a:pPr>
            <a:r>
              <a:rPr lang="hr-HR" sz="2000" smtClean="0">
                <a:latin typeface="HP Display Beta Regular"/>
              </a:rPr>
              <a:t>Indigo tehnologija danas tiska kartonsku ambalažu za brandove kao što su </a:t>
            </a:r>
            <a:r>
              <a:rPr lang="en-US" sz="2000" smtClean="0">
                <a:latin typeface="HP Display Beta Regular"/>
              </a:rPr>
              <a:t>Pfizer, Unilever, Mars-Wrigley </a:t>
            </a:r>
            <a:r>
              <a:rPr lang="hr-HR" sz="2000" smtClean="0">
                <a:latin typeface="HP Display Beta Regular"/>
              </a:rPr>
              <a:t>i cijeli niz premium </a:t>
            </a:r>
            <a:r>
              <a:rPr lang="en-US" sz="2000" smtClean="0">
                <a:latin typeface="HP Display Beta Regular"/>
              </a:rPr>
              <a:t>boutique Beauty-care brand</a:t>
            </a:r>
            <a:r>
              <a:rPr lang="hr-HR" sz="2000" smtClean="0">
                <a:latin typeface="HP Display Beta Regular"/>
              </a:rPr>
              <a:t>ova.</a:t>
            </a:r>
            <a:endParaRPr lang="en-US" sz="2000" smtClean="0">
              <a:latin typeface="HP Display Beta Regular"/>
            </a:endParaRPr>
          </a:p>
        </p:txBody>
      </p:sp>
      <p:sp>
        <p:nvSpPr>
          <p:cNvPr id="15366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246438" y="914400"/>
            <a:ext cx="58674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>
              <a:buClr>
                <a:srgbClr val="00A4E4"/>
              </a:buClr>
            </a:pPr>
            <a:r>
              <a:rPr lang="hr-HR" sz="2000">
                <a:solidFill>
                  <a:srgbClr val="000000"/>
                </a:solidFill>
                <a:latin typeface="HP Display Beta Light"/>
              </a:rPr>
              <a:t>Digitalno otisnuti proizvodi uz proizvode otisnute analogno jedni uz druge na istoj polici.</a:t>
            </a:r>
            <a:endParaRPr lang="en-US" sz="2000">
              <a:solidFill>
                <a:srgbClr val="000000"/>
              </a:solidFill>
              <a:latin typeface="HP Display Beta Ligh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594" name="Title 2"/>
          <p:cNvSpPr>
            <a:spLocks noGrp="1"/>
          </p:cNvSpPr>
          <p:nvPr>
            <p:ph type="title"/>
          </p:nvPr>
        </p:nvSpPr>
        <p:spPr>
          <a:xfrm>
            <a:off x="339725" y="420688"/>
            <a:ext cx="8375650" cy="4397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hr-HR" smtClean="0">
                <a:latin typeface="Futura Bk"/>
              </a:rPr>
              <a:t>Globalni rast tržišta - prognoza</a:t>
            </a:r>
            <a:endParaRPr lang="en-US" smtClean="0">
              <a:latin typeface="Futura Bk"/>
            </a:endParaRPr>
          </a:p>
        </p:txBody>
      </p:sp>
      <p:sp>
        <p:nvSpPr>
          <p:cNvPr id="238595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261938" y="903288"/>
            <a:ext cx="8370887" cy="393700"/>
          </a:xfrm>
        </p:spPr>
        <p:txBody>
          <a:bodyPr/>
          <a:lstStyle/>
          <a:p>
            <a:pPr>
              <a:buFont typeface="Arial" charset="0"/>
              <a:buNone/>
            </a:pPr>
            <a:r>
              <a:rPr lang="hr-HR" sz="1600" b="1" smtClean="0">
                <a:solidFill>
                  <a:schemeClr val="bg1"/>
                </a:solidFill>
              </a:rPr>
              <a:t>Digitalno otisnuta pakiranja i etikete po sektorima ($ Milion)</a:t>
            </a:r>
            <a:endParaRPr lang="en-US" sz="1600" smtClean="0">
              <a:solidFill>
                <a:schemeClr val="bg1"/>
              </a:solidFill>
            </a:endParaRPr>
          </a:p>
        </p:txBody>
      </p:sp>
      <p:sp>
        <p:nvSpPr>
          <p:cNvPr id="238596" name="TextBox 7"/>
          <p:cNvSpPr txBox="1">
            <a:spLocks noChangeArrowheads="1"/>
          </p:cNvSpPr>
          <p:nvPr/>
        </p:nvSpPr>
        <p:spPr bwMode="gray">
          <a:xfrm>
            <a:off x="357188" y="6435725"/>
            <a:ext cx="221615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>
                <a:solidFill>
                  <a:schemeClr val="bg1"/>
                </a:solidFill>
                <a:latin typeface="Futura Bk"/>
              </a:rPr>
              <a:t>Source: Pira International LTD 2009</a:t>
            </a:r>
          </a:p>
        </p:txBody>
      </p:sp>
      <p:pic>
        <p:nvPicPr>
          <p:cNvPr id="16" name="Chart 15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6350" y="1268413"/>
            <a:ext cx="8497888" cy="523557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42" name="Title 2"/>
          <p:cNvSpPr>
            <a:spLocks noGrp="1"/>
          </p:cNvSpPr>
          <p:nvPr>
            <p:ph type="title"/>
          </p:nvPr>
        </p:nvSpPr>
        <p:spPr>
          <a:xfrm>
            <a:off x="339725" y="420688"/>
            <a:ext cx="8375650" cy="4397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hr-HR" smtClean="0">
                <a:latin typeface="Futura Bk"/>
              </a:rPr>
              <a:t>Globalni rast tržišta - prognoza</a:t>
            </a:r>
            <a:endParaRPr lang="en-US" smtClean="0">
              <a:latin typeface="Futura Bk"/>
            </a:endParaRPr>
          </a:p>
        </p:txBody>
      </p:sp>
      <p:sp>
        <p:nvSpPr>
          <p:cNvPr id="240643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242888" y="927100"/>
            <a:ext cx="8366125" cy="534988"/>
          </a:xfrm>
        </p:spPr>
        <p:txBody>
          <a:bodyPr/>
          <a:lstStyle/>
          <a:p>
            <a:pPr>
              <a:buFont typeface="Arial" charset="0"/>
              <a:buNone/>
            </a:pPr>
            <a:r>
              <a:rPr lang="hr-HR" sz="1600" b="1" smtClean="0">
                <a:solidFill>
                  <a:schemeClr val="bg1"/>
                </a:solidFill>
              </a:rPr>
              <a:t>Digitalno otisnuta pakiranja i etikete  - rast u % po sektorima  u 5 godina</a:t>
            </a:r>
            <a:endParaRPr lang="en-US" sz="1600" smtClean="0">
              <a:solidFill>
                <a:schemeClr val="bg1"/>
              </a:solidFill>
            </a:endParaRPr>
          </a:p>
        </p:txBody>
      </p:sp>
      <p:sp>
        <p:nvSpPr>
          <p:cNvPr id="240644" name="TextBox 7"/>
          <p:cNvSpPr txBox="1">
            <a:spLocks noChangeArrowheads="1"/>
          </p:cNvSpPr>
          <p:nvPr/>
        </p:nvSpPr>
        <p:spPr bwMode="gray">
          <a:xfrm>
            <a:off x="268288" y="6372225"/>
            <a:ext cx="2217737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>
                <a:solidFill>
                  <a:schemeClr val="bg1"/>
                </a:solidFill>
                <a:latin typeface="Futura Bk"/>
              </a:rPr>
              <a:t>Source: Pira International LTD 2009</a:t>
            </a:r>
          </a:p>
        </p:txBody>
      </p:sp>
      <p:pic>
        <p:nvPicPr>
          <p:cNvPr id="9" name="Chart 8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27038" y="1500188"/>
            <a:ext cx="7742237" cy="4632325"/>
          </a:xfrm>
          <a:prstGeom prst="rect">
            <a:avLst/>
          </a:prstGeom>
          <a:noFill/>
        </p:spPr>
      </p:pic>
      <p:pic>
        <p:nvPicPr>
          <p:cNvPr id="12" name="Chart 11"/>
          <p:cNvPicPr>
            <a:picLocks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92100" y="1481138"/>
            <a:ext cx="8089900" cy="4481512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690" name="Rectangle 2"/>
          <p:cNvSpPr>
            <a:spLocks noGrp="1" noChangeArrowheads="1"/>
          </p:cNvSpPr>
          <p:nvPr>
            <p:ph type="title"/>
          </p:nvPr>
        </p:nvSpPr>
        <p:spPr>
          <a:xfrm>
            <a:off x="339725" y="420688"/>
            <a:ext cx="8375650" cy="439737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hr-HR" smtClean="0">
                <a:latin typeface="Futura Bk"/>
              </a:rPr>
              <a:t>Obratite pažnju na</a:t>
            </a:r>
            <a:endParaRPr lang="en-US" smtClean="0">
              <a:latin typeface="Futura Bk"/>
            </a:endParaRPr>
          </a:p>
        </p:txBody>
      </p:sp>
      <p:pic>
        <p:nvPicPr>
          <p:cNvPr id="242691" name="Picture 4" descr="Ear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3"/>
          <a:srcRect/>
          <a:stretch>
            <a:fillRect/>
          </a:stretch>
        </p:blipFill>
        <p:spPr>
          <a:xfrm>
            <a:off x="6450013" y="274638"/>
            <a:ext cx="1970087" cy="1355725"/>
          </a:xfrm>
        </p:spPr>
      </p:pic>
      <p:grpSp>
        <p:nvGrpSpPr>
          <p:cNvPr id="2002956" name="Text Box 12"/>
          <p:cNvGrpSpPr>
            <a:grpSpLocks/>
          </p:cNvGrpSpPr>
          <p:nvPr/>
        </p:nvGrpSpPr>
        <p:grpSpPr bwMode="auto">
          <a:xfrm>
            <a:off x="476250" y="1901825"/>
            <a:ext cx="2852738" cy="573088"/>
            <a:chOff x="300" y="1198"/>
            <a:chExt cx="1797" cy="361"/>
          </a:xfrm>
        </p:grpSpPr>
        <p:pic>
          <p:nvPicPr>
            <p:cNvPr id="242692" name="Text Box 12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300" y="1198"/>
              <a:ext cx="1797" cy="361"/>
            </a:xfrm>
            <a:prstGeom prst="rect">
              <a:avLst/>
            </a:prstGeom>
            <a:noFill/>
          </p:spPr>
        </p:pic>
        <p:sp>
          <p:nvSpPr>
            <p:cNvPr id="242693" name="Text Box 5"/>
            <p:cNvSpPr txBox="1">
              <a:spLocks noChangeArrowheads="1"/>
            </p:cNvSpPr>
            <p:nvPr/>
          </p:nvSpPr>
          <p:spPr bwMode="auto">
            <a:xfrm>
              <a:off x="377" y="1274"/>
              <a:ext cx="1645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r>
                <a:rPr lang="hr-HR" sz="1600">
                  <a:solidFill>
                    <a:srgbClr val="FFFFFF"/>
                  </a:solidFill>
                  <a:latin typeface="Calibri" pitchFamily="34" charset="0"/>
                </a:rPr>
                <a:t>Manje naklade</a:t>
              </a:r>
              <a:endParaRPr lang="en-US" sz="16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2002957" name="Text Box 13"/>
          <p:cNvGrpSpPr>
            <a:grpSpLocks/>
          </p:cNvGrpSpPr>
          <p:nvPr/>
        </p:nvGrpSpPr>
        <p:grpSpPr bwMode="auto">
          <a:xfrm>
            <a:off x="476250" y="3346450"/>
            <a:ext cx="2852738" cy="573088"/>
            <a:chOff x="300" y="2108"/>
            <a:chExt cx="1797" cy="361"/>
          </a:xfrm>
        </p:grpSpPr>
        <p:pic>
          <p:nvPicPr>
            <p:cNvPr id="242695" name="Text Box 13"/>
            <p:cNvPicPr>
              <a:picLocks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300" y="2108"/>
              <a:ext cx="1797" cy="361"/>
            </a:xfrm>
            <a:prstGeom prst="rect">
              <a:avLst/>
            </a:prstGeom>
            <a:noFill/>
          </p:spPr>
        </p:pic>
        <p:sp>
          <p:nvSpPr>
            <p:cNvPr id="242696" name="Text Box 8"/>
            <p:cNvSpPr txBox="1">
              <a:spLocks noChangeArrowheads="1"/>
            </p:cNvSpPr>
            <p:nvPr/>
          </p:nvSpPr>
          <p:spPr bwMode="auto">
            <a:xfrm>
              <a:off x="377" y="2184"/>
              <a:ext cx="1645" cy="2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r>
                <a:rPr lang="en-US" sz="1600">
                  <a:solidFill>
                    <a:srgbClr val="FFFFFF"/>
                  </a:solidFill>
                  <a:latin typeface="Calibri" pitchFamily="34" charset="0"/>
                </a:rPr>
                <a:t>1-1 Marketing</a:t>
              </a:r>
            </a:p>
          </p:txBody>
        </p:sp>
      </p:grpSp>
      <p:grpSp>
        <p:nvGrpSpPr>
          <p:cNvPr id="2002958" name="Text Box 14"/>
          <p:cNvGrpSpPr>
            <a:grpSpLocks/>
          </p:cNvGrpSpPr>
          <p:nvPr/>
        </p:nvGrpSpPr>
        <p:grpSpPr bwMode="auto">
          <a:xfrm>
            <a:off x="476250" y="4065588"/>
            <a:ext cx="2852738" cy="579437"/>
            <a:chOff x="300" y="2561"/>
            <a:chExt cx="1797" cy="365"/>
          </a:xfrm>
        </p:grpSpPr>
        <p:pic>
          <p:nvPicPr>
            <p:cNvPr id="242698" name="Text Box 14"/>
            <p:cNvPicPr>
              <a:picLocks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300" y="2561"/>
              <a:ext cx="1797" cy="365"/>
            </a:xfrm>
            <a:prstGeom prst="rect">
              <a:avLst/>
            </a:prstGeom>
            <a:noFill/>
          </p:spPr>
        </p:pic>
        <p:sp>
          <p:nvSpPr>
            <p:cNvPr id="242699" name="Text Box 11"/>
            <p:cNvSpPr txBox="1">
              <a:spLocks noChangeArrowheads="1"/>
            </p:cNvSpPr>
            <p:nvPr/>
          </p:nvSpPr>
          <p:spPr bwMode="auto">
            <a:xfrm>
              <a:off x="377" y="2640"/>
              <a:ext cx="1645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r>
                <a:rPr lang="hr-HR" sz="1600">
                  <a:solidFill>
                    <a:srgbClr val="FFFFFF"/>
                  </a:solidFill>
                  <a:latin typeface="Calibri" pitchFamily="34" charset="0"/>
                </a:rPr>
                <a:t>Uzorci</a:t>
              </a:r>
              <a:r>
                <a:rPr lang="en-US" sz="1600">
                  <a:solidFill>
                    <a:srgbClr val="FFFFFF"/>
                  </a:solidFill>
                  <a:latin typeface="Calibri" pitchFamily="34" charset="0"/>
                </a:rPr>
                <a:t> / Proofing</a:t>
              </a:r>
            </a:p>
          </p:txBody>
        </p:sp>
      </p:grpSp>
      <p:pic>
        <p:nvPicPr>
          <p:cNvPr id="242701" name="Picture 15"/>
          <p:cNvPicPr>
            <a:picLocks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918450" y="-320675"/>
            <a:ext cx="1225550" cy="717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2702" name="Picture 6" descr="JewelOnly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374063" y="5972175"/>
            <a:ext cx="490537" cy="666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4" name="Text Box 13"/>
          <p:cNvGrpSpPr>
            <a:grpSpLocks/>
          </p:cNvGrpSpPr>
          <p:nvPr/>
        </p:nvGrpSpPr>
        <p:grpSpPr bwMode="auto">
          <a:xfrm>
            <a:off x="469900" y="2620963"/>
            <a:ext cx="2852738" cy="579437"/>
            <a:chOff x="296" y="1651"/>
            <a:chExt cx="1797" cy="365"/>
          </a:xfrm>
        </p:grpSpPr>
        <p:pic>
          <p:nvPicPr>
            <p:cNvPr id="242703" name="Text Box 13"/>
            <p:cNvPicPr>
              <a:picLocks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296" y="1651"/>
              <a:ext cx="1797" cy="365"/>
            </a:xfrm>
            <a:prstGeom prst="rect">
              <a:avLst/>
            </a:prstGeom>
            <a:noFill/>
          </p:spPr>
        </p:pic>
        <p:sp>
          <p:nvSpPr>
            <p:cNvPr id="242704" name="Text Box 16"/>
            <p:cNvSpPr txBox="1">
              <a:spLocks noChangeArrowheads="1"/>
            </p:cNvSpPr>
            <p:nvPr/>
          </p:nvSpPr>
          <p:spPr bwMode="auto">
            <a:xfrm>
              <a:off x="373" y="1729"/>
              <a:ext cx="1645" cy="2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r>
                <a:rPr lang="en-US" sz="1600">
                  <a:solidFill>
                    <a:srgbClr val="FFFFFF"/>
                  </a:solidFill>
                  <a:latin typeface="Calibri" pitchFamily="34" charset="0"/>
                </a:rPr>
                <a:t>Event Marketing</a:t>
              </a:r>
            </a:p>
          </p:txBody>
        </p:sp>
      </p:grpSp>
      <p:grpSp>
        <p:nvGrpSpPr>
          <p:cNvPr id="2002952" name="Text Box 8"/>
          <p:cNvGrpSpPr>
            <a:grpSpLocks/>
          </p:cNvGrpSpPr>
          <p:nvPr/>
        </p:nvGrpSpPr>
        <p:grpSpPr bwMode="auto">
          <a:xfrm>
            <a:off x="3060700" y="1901825"/>
            <a:ext cx="2706688" cy="573088"/>
            <a:chOff x="1928" y="1198"/>
            <a:chExt cx="1705" cy="361"/>
          </a:xfrm>
        </p:grpSpPr>
        <p:pic>
          <p:nvPicPr>
            <p:cNvPr id="242706" name="Text Box 8"/>
            <p:cNvPicPr>
              <a:picLocks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1928" y="1198"/>
              <a:ext cx="1705" cy="361"/>
            </a:xfrm>
            <a:prstGeom prst="rect">
              <a:avLst/>
            </a:prstGeom>
            <a:noFill/>
          </p:spPr>
        </p:pic>
        <p:sp>
          <p:nvSpPr>
            <p:cNvPr id="242707" name="Text Box 19"/>
            <p:cNvSpPr txBox="1">
              <a:spLocks noChangeArrowheads="1"/>
            </p:cNvSpPr>
            <p:nvPr/>
          </p:nvSpPr>
          <p:spPr bwMode="auto">
            <a:xfrm>
              <a:off x="2006" y="1274"/>
              <a:ext cx="1555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r>
                <a:rPr lang="en-US" sz="1600">
                  <a:solidFill>
                    <a:srgbClr val="FFFFFF"/>
                  </a:solidFill>
                  <a:latin typeface="Calibri" pitchFamily="34" charset="0"/>
                </a:rPr>
                <a:t>Protot</a:t>
              </a:r>
              <a:r>
                <a:rPr lang="hr-HR" sz="1600">
                  <a:solidFill>
                    <a:srgbClr val="FFFFFF"/>
                  </a:solidFill>
                  <a:latin typeface="Calibri" pitchFamily="34" charset="0"/>
                </a:rPr>
                <a:t>ipovi</a:t>
              </a:r>
              <a:endParaRPr lang="en-US" sz="16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2002954" name="Text Box 10"/>
          <p:cNvGrpSpPr>
            <a:grpSpLocks/>
          </p:cNvGrpSpPr>
          <p:nvPr/>
        </p:nvGrpSpPr>
        <p:grpSpPr bwMode="auto">
          <a:xfrm>
            <a:off x="3071813" y="4065588"/>
            <a:ext cx="2706687" cy="579437"/>
            <a:chOff x="1935" y="2561"/>
            <a:chExt cx="1705" cy="365"/>
          </a:xfrm>
        </p:grpSpPr>
        <p:pic>
          <p:nvPicPr>
            <p:cNvPr id="242709" name="Text Box 10"/>
            <p:cNvPicPr>
              <a:picLocks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1935" y="2561"/>
              <a:ext cx="1705" cy="365"/>
            </a:xfrm>
            <a:prstGeom prst="rect">
              <a:avLst/>
            </a:prstGeom>
            <a:noFill/>
          </p:spPr>
        </p:pic>
        <p:sp>
          <p:nvSpPr>
            <p:cNvPr id="242710" name="Text Box 22"/>
            <p:cNvSpPr txBox="1">
              <a:spLocks noChangeArrowheads="1"/>
            </p:cNvSpPr>
            <p:nvPr/>
          </p:nvSpPr>
          <p:spPr bwMode="auto">
            <a:xfrm>
              <a:off x="2011" y="2640"/>
              <a:ext cx="1555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r>
                <a:rPr lang="hr-HR" sz="1600">
                  <a:solidFill>
                    <a:srgbClr val="FFFFFF"/>
                  </a:solidFill>
                  <a:latin typeface="Calibri" pitchFamily="34" charset="0"/>
                </a:rPr>
                <a:t>Višestruki </a:t>
              </a:r>
              <a:r>
                <a:rPr lang="en-US" sz="1600">
                  <a:solidFill>
                    <a:srgbClr val="FFFFFF"/>
                  </a:solidFill>
                  <a:latin typeface="Calibri" pitchFamily="34" charset="0"/>
                </a:rPr>
                <a:t>SKU</a:t>
              </a:r>
            </a:p>
          </p:txBody>
        </p:sp>
      </p:grpSp>
      <p:grpSp>
        <p:nvGrpSpPr>
          <p:cNvPr id="2002961" name="Text Box 17"/>
          <p:cNvGrpSpPr>
            <a:grpSpLocks/>
          </p:cNvGrpSpPr>
          <p:nvPr/>
        </p:nvGrpSpPr>
        <p:grpSpPr bwMode="auto">
          <a:xfrm>
            <a:off x="3060700" y="3346450"/>
            <a:ext cx="2706688" cy="573088"/>
            <a:chOff x="1928" y="2108"/>
            <a:chExt cx="1705" cy="361"/>
          </a:xfrm>
        </p:grpSpPr>
        <p:pic>
          <p:nvPicPr>
            <p:cNvPr id="242712" name="Text Box 17"/>
            <p:cNvPicPr>
              <a:picLocks noChangeArrowheads="1"/>
            </p:cNvPicPr>
            <p:nvPr/>
          </p:nvPicPr>
          <p:blipFill>
            <a:blip r:embed="rId12"/>
            <a:srcRect/>
            <a:stretch>
              <a:fillRect/>
            </a:stretch>
          </p:blipFill>
          <p:spPr bwMode="auto">
            <a:xfrm>
              <a:off x="1928" y="2108"/>
              <a:ext cx="1705" cy="361"/>
            </a:xfrm>
            <a:prstGeom prst="rect">
              <a:avLst/>
            </a:prstGeom>
            <a:noFill/>
          </p:spPr>
        </p:pic>
        <p:sp>
          <p:nvSpPr>
            <p:cNvPr id="242713" name="Text Box 25"/>
            <p:cNvSpPr txBox="1">
              <a:spLocks noChangeArrowheads="1"/>
            </p:cNvSpPr>
            <p:nvPr/>
          </p:nvSpPr>
          <p:spPr bwMode="auto">
            <a:xfrm>
              <a:off x="2005" y="2184"/>
              <a:ext cx="1556" cy="2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r>
                <a:rPr lang="hr-HR" sz="1600">
                  <a:solidFill>
                    <a:srgbClr val="FFFFFF"/>
                  </a:solidFill>
                  <a:latin typeface="Calibri" pitchFamily="34" charset="0"/>
                </a:rPr>
                <a:t>Varijabilni podaci</a:t>
              </a:r>
              <a:endParaRPr lang="en-US" sz="16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26" name="Text Box 17"/>
          <p:cNvGrpSpPr>
            <a:grpSpLocks/>
          </p:cNvGrpSpPr>
          <p:nvPr/>
        </p:nvGrpSpPr>
        <p:grpSpPr bwMode="auto">
          <a:xfrm>
            <a:off x="3054350" y="2620963"/>
            <a:ext cx="2706688" cy="579437"/>
            <a:chOff x="1924" y="1651"/>
            <a:chExt cx="1705" cy="365"/>
          </a:xfrm>
        </p:grpSpPr>
        <p:pic>
          <p:nvPicPr>
            <p:cNvPr id="242715" name="Text Box 17"/>
            <p:cNvPicPr>
              <a:picLocks noChangeArrowheads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1924" y="1651"/>
              <a:ext cx="1705" cy="365"/>
            </a:xfrm>
            <a:prstGeom prst="rect">
              <a:avLst/>
            </a:prstGeom>
            <a:noFill/>
          </p:spPr>
        </p:pic>
        <p:sp>
          <p:nvSpPr>
            <p:cNvPr id="242716" name="Text Box 28"/>
            <p:cNvSpPr txBox="1">
              <a:spLocks noChangeArrowheads="1"/>
            </p:cNvSpPr>
            <p:nvPr/>
          </p:nvSpPr>
          <p:spPr bwMode="auto">
            <a:xfrm>
              <a:off x="2002" y="1729"/>
              <a:ext cx="1555" cy="2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r>
                <a:rPr lang="en-US" sz="1600">
                  <a:solidFill>
                    <a:srgbClr val="FFFFFF"/>
                  </a:solidFill>
                  <a:latin typeface="Calibri" pitchFamily="34" charset="0"/>
                </a:rPr>
                <a:t>Cause Marketing</a:t>
              </a:r>
            </a:p>
          </p:txBody>
        </p:sp>
      </p:grpSp>
      <p:grpSp>
        <p:nvGrpSpPr>
          <p:cNvPr id="2002949" name="Text Box 5"/>
          <p:cNvGrpSpPr>
            <a:grpSpLocks/>
          </p:cNvGrpSpPr>
          <p:nvPr/>
        </p:nvGrpSpPr>
        <p:grpSpPr bwMode="auto">
          <a:xfrm>
            <a:off x="5546725" y="1901825"/>
            <a:ext cx="3457575" cy="573088"/>
            <a:chOff x="3494" y="1198"/>
            <a:chExt cx="2178" cy="361"/>
          </a:xfrm>
        </p:grpSpPr>
        <p:pic>
          <p:nvPicPr>
            <p:cNvPr id="242718" name="Text Box 5"/>
            <p:cNvPicPr>
              <a:picLocks noChangeArrowheads="1"/>
            </p:cNvPicPr>
            <p:nvPr/>
          </p:nvPicPr>
          <p:blipFill>
            <a:blip r:embed="rId14"/>
            <a:srcRect/>
            <a:stretch>
              <a:fillRect/>
            </a:stretch>
          </p:blipFill>
          <p:spPr bwMode="auto">
            <a:xfrm>
              <a:off x="3494" y="1198"/>
              <a:ext cx="2178" cy="361"/>
            </a:xfrm>
            <a:prstGeom prst="rect">
              <a:avLst/>
            </a:prstGeom>
            <a:noFill/>
          </p:spPr>
        </p:pic>
        <p:sp>
          <p:nvSpPr>
            <p:cNvPr id="242719" name="Text Box 31"/>
            <p:cNvSpPr txBox="1">
              <a:spLocks noChangeArrowheads="1"/>
            </p:cNvSpPr>
            <p:nvPr/>
          </p:nvSpPr>
          <p:spPr bwMode="auto">
            <a:xfrm>
              <a:off x="3572" y="1274"/>
              <a:ext cx="2025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r>
                <a:rPr lang="hr-HR" sz="1600">
                  <a:solidFill>
                    <a:srgbClr val="FFFFFF"/>
                  </a:solidFill>
                  <a:latin typeface="Calibri" pitchFamily="34" charset="0"/>
                </a:rPr>
                <a:t>Na zahtjev</a:t>
              </a:r>
              <a:endParaRPr lang="en-US" sz="16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2002955" name="Text Box 11"/>
          <p:cNvGrpSpPr>
            <a:grpSpLocks/>
          </p:cNvGrpSpPr>
          <p:nvPr/>
        </p:nvGrpSpPr>
        <p:grpSpPr bwMode="auto">
          <a:xfrm>
            <a:off x="5546725" y="4065588"/>
            <a:ext cx="3457575" cy="579437"/>
            <a:chOff x="3494" y="2561"/>
            <a:chExt cx="2178" cy="365"/>
          </a:xfrm>
        </p:grpSpPr>
        <p:pic>
          <p:nvPicPr>
            <p:cNvPr id="242721" name="Text Box 11"/>
            <p:cNvPicPr>
              <a:picLocks noChangeArrowheads="1"/>
            </p:cNvPicPr>
            <p:nvPr/>
          </p:nvPicPr>
          <p:blipFill>
            <a:blip r:embed="rId15"/>
            <a:srcRect/>
            <a:stretch>
              <a:fillRect/>
            </a:stretch>
          </p:blipFill>
          <p:spPr bwMode="auto">
            <a:xfrm>
              <a:off x="3494" y="2561"/>
              <a:ext cx="2178" cy="365"/>
            </a:xfrm>
            <a:prstGeom prst="rect">
              <a:avLst/>
            </a:prstGeom>
            <a:noFill/>
          </p:spPr>
        </p:pic>
        <p:sp>
          <p:nvSpPr>
            <p:cNvPr id="242722" name="Text Box 34"/>
            <p:cNvSpPr txBox="1">
              <a:spLocks noChangeArrowheads="1"/>
            </p:cNvSpPr>
            <p:nvPr/>
          </p:nvSpPr>
          <p:spPr bwMode="auto">
            <a:xfrm>
              <a:off x="3572" y="2640"/>
              <a:ext cx="2025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r>
                <a:rPr lang="hr-HR" sz="1600">
                  <a:solidFill>
                    <a:srgbClr val="FFFFFF"/>
                  </a:solidFill>
                  <a:latin typeface="Calibri" pitchFamily="34" charset="0"/>
                </a:rPr>
                <a:t>Personalizacija</a:t>
              </a:r>
              <a:endParaRPr lang="en-US" sz="16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2002960" name="Text Box 16"/>
          <p:cNvGrpSpPr>
            <a:grpSpLocks/>
          </p:cNvGrpSpPr>
          <p:nvPr/>
        </p:nvGrpSpPr>
        <p:grpSpPr bwMode="auto">
          <a:xfrm>
            <a:off x="5546725" y="3346450"/>
            <a:ext cx="3457575" cy="573088"/>
            <a:chOff x="3494" y="2108"/>
            <a:chExt cx="2178" cy="361"/>
          </a:xfrm>
        </p:grpSpPr>
        <p:pic>
          <p:nvPicPr>
            <p:cNvPr id="242724" name="Text Box 16"/>
            <p:cNvPicPr>
              <a:picLocks noChangeArrowheads="1"/>
            </p:cNvPicPr>
            <p:nvPr/>
          </p:nvPicPr>
          <p:blipFill>
            <a:blip r:embed="rId16"/>
            <a:srcRect/>
            <a:stretch>
              <a:fillRect/>
            </a:stretch>
          </p:blipFill>
          <p:spPr bwMode="auto">
            <a:xfrm>
              <a:off x="3494" y="2108"/>
              <a:ext cx="2178" cy="361"/>
            </a:xfrm>
            <a:prstGeom prst="rect">
              <a:avLst/>
            </a:prstGeom>
            <a:noFill/>
          </p:spPr>
        </p:pic>
        <p:sp>
          <p:nvSpPr>
            <p:cNvPr id="242725" name="Text Box 37"/>
            <p:cNvSpPr txBox="1">
              <a:spLocks noChangeArrowheads="1"/>
            </p:cNvSpPr>
            <p:nvPr/>
          </p:nvSpPr>
          <p:spPr bwMode="auto">
            <a:xfrm>
              <a:off x="3572" y="2184"/>
              <a:ext cx="2025" cy="2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r>
                <a:rPr lang="en-US" sz="1600">
                  <a:solidFill>
                    <a:srgbClr val="FFFFFF"/>
                  </a:solidFill>
                  <a:latin typeface="Calibri" pitchFamily="34" charset="0"/>
                </a:rPr>
                <a:t>Bar</a:t>
              </a:r>
              <a:r>
                <a:rPr lang="hr-HR" sz="1600">
                  <a:solidFill>
                    <a:srgbClr val="FFFFFF"/>
                  </a:solidFill>
                  <a:latin typeface="Calibri" pitchFamily="34" charset="0"/>
                </a:rPr>
                <a:t>kodovi</a:t>
              </a:r>
              <a:endParaRPr lang="en-US" sz="16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25" name="Text Box 16"/>
          <p:cNvGrpSpPr>
            <a:grpSpLocks/>
          </p:cNvGrpSpPr>
          <p:nvPr/>
        </p:nvGrpSpPr>
        <p:grpSpPr bwMode="auto">
          <a:xfrm>
            <a:off x="5541963" y="2620963"/>
            <a:ext cx="3455987" cy="579437"/>
            <a:chOff x="3491" y="1651"/>
            <a:chExt cx="2177" cy="365"/>
          </a:xfrm>
        </p:grpSpPr>
        <p:pic>
          <p:nvPicPr>
            <p:cNvPr id="242727" name="Text Box 16"/>
            <p:cNvPicPr>
              <a:picLocks noChangeArrowheads="1"/>
            </p:cNvPicPr>
            <p:nvPr/>
          </p:nvPicPr>
          <p:blipFill>
            <a:blip r:embed="rId17"/>
            <a:srcRect/>
            <a:stretch>
              <a:fillRect/>
            </a:stretch>
          </p:blipFill>
          <p:spPr bwMode="auto">
            <a:xfrm>
              <a:off x="3491" y="1651"/>
              <a:ext cx="2177" cy="365"/>
            </a:xfrm>
            <a:prstGeom prst="rect">
              <a:avLst/>
            </a:prstGeom>
            <a:noFill/>
          </p:spPr>
        </p:pic>
        <p:sp>
          <p:nvSpPr>
            <p:cNvPr id="242728" name="Text Box 40"/>
            <p:cNvSpPr txBox="1">
              <a:spLocks noChangeArrowheads="1"/>
            </p:cNvSpPr>
            <p:nvPr/>
          </p:nvSpPr>
          <p:spPr bwMode="auto">
            <a:xfrm>
              <a:off x="3569" y="1729"/>
              <a:ext cx="2024" cy="2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r>
                <a:rPr lang="en-US" sz="1600">
                  <a:solidFill>
                    <a:srgbClr val="FFFFFF"/>
                  </a:solidFill>
                  <a:latin typeface="Calibri" pitchFamily="34" charset="0"/>
                </a:rPr>
                <a:t>Regional</a:t>
              </a:r>
              <a:r>
                <a:rPr lang="hr-HR" sz="1600">
                  <a:solidFill>
                    <a:srgbClr val="FFFFFF"/>
                  </a:solidFill>
                  <a:latin typeface="Calibri" pitchFamily="34" charset="0"/>
                </a:rPr>
                <a:t>ni</a:t>
              </a:r>
              <a:r>
                <a:rPr lang="en-US" sz="1600">
                  <a:solidFill>
                    <a:srgbClr val="FFFFFF"/>
                  </a:solidFill>
                  <a:latin typeface="Calibri" pitchFamily="34" charset="0"/>
                </a:rPr>
                <a:t> Marketing</a:t>
              </a:r>
            </a:p>
          </p:txBody>
        </p:sp>
      </p:grpSp>
      <p:grpSp>
        <p:nvGrpSpPr>
          <p:cNvPr id="2002959" name="Text Box 15"/>
          <p:cNvGrpSpPr>
            <a:grpSpLocks/>
          </p:cNvGrpSpPr>
          <p:nvPr/>
        </p:nvGrpSpPr>
        <p:grpSpPr bwMode="auto">
          <a:xfrm>
            <a:off x="469900" y="4754563"/>
            <a:ext cx="7905750" cy="579437"/>
            <a:chOff x="296" y="2995"/>
            <a:chExt cx="4980" cy="365"/>
          </a:xfrm>
        </p:grpSpPr>
        <p:pic>
          <p:nvPicPr>
            <p:cNvPr id="242730" name="Text Box 15"/>
            <p:cNvPicPr>
              <a:picLocks noChangeArrowheads="1"/>
            </p:cNvPicPr>
            <p:nvPr/>
          </p:nvPicPr>
          <p:blipFill>
            <a:blip r:embed="rId18"/>
            <a:srcRect/>
            <a:stretch>
              <a:fillRect/>
            </a:stretch>
          </p:blipFill>
          <p:spPr bwMode="auto">
            <a:xfrm>
              <a:off x="296" y="2995"/>
              <a:ext cx="4980" cy="365"/>
            </a:xfrm>
            <a:prstGeom prst="rect">
              <a:avLst/>
            </a:prstGeom>
            <a:noFill/>
          </p:spPr>
        </p:pic>
        <p:sp>
          <p:nvSpPr>
            <p:cNvPr id="242731" name="Text Box 43"/>
            <p:cNvSpPr txBox="1">
              <a:spLocks noChangeArrowheads="1"/>
            </p:cNvSpPr>
            <p:nvPr/>
          </p:nvSpPr>
          <p:spPr bwMode="auto">
            <a:xfrm>
              <a:off x="373" y="3072"/>
              <a:ext cx="4830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r>
                <a:rPr lang="hr-HR" sz="1600">
                  <a:solidFill>
                    <a:srgbClr val="FFFFFF"/>
                  </a:solidFill>
                  <a:latin typeface="Calibri" pitchFamily="34" charset="0"/>
                </a:rPr>
                <a:t>Just In Time isporuka </a:t>
              </a:r>
              <a:endParaRPr lang="en-US" sz="160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pic>
        <p:nvPicPr>
          <p:cNvPr id="242733" name="Picture 16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7918450" y="-320675"/>
            <a:ext cx="1225550" cy="717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2734" name="Picture 6" descr="JewelOnly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374063" y="5972175"/>
            <a:ext cx="490537" cy="666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extBox 28"/>
          <p:cNvSpPr txBox="1"/>
          <p:nvPr/>
        </p:nvSpPr>
        <p:spPr>
          <a:xfrm>
            <a:off x="527050" y="1284288"/>
            <a:ext cx="3106738" cy="4000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THE DIGITAL BUZZWORDS… </a:t>
            </a: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0" y="1600200"/>
            <a:ext cx="8275320" cy="5074920"/>
          </a:xfrm>
          <a:prstGeom prst="rect">
            <a:avLst/>
          </a:prstGeom>
          <a:gradFill>
            <a:gsLst>
              <a:gs pos="18000">
                <a:schemeClr val="tx1">
                  <a:alpha val="64000"/>
                </a:schemeClr>
              </a:gs>
              <a:gs pos="50000">
                <a:schemeClr val="tx1"/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15716" name="TextBox 5"/>
          <p:cNvSpPr txBox="1">
            <a:spLocks noChangeArrowheads="1"/>
          </p:cNvSpPr>
          <p:nvPr/>
        </p:nvSpPr>
        <p:spPr bwMode="auto">
          <a:xfrm>
            <a:off x="422275" y="3657600"/>
            <a:ext cx="211455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400">
                <a:solidFill>
                  <a:schemeClr val="bg1"/>
                </a:solidFill>
                <a:latin typeface="Calibri" pitchFamily="34" charset="0"/>
                <a:ea typeface="ＭＳ Ｐゴシック"/>
                <a:cs typeface="ＭＳ Ｐゴシック"/>
              </a:rPr>
              <a:t>CMYK+OVG</a:t>
            </a:r>
          </a:p>
        </p:txBody>
      </p:sp>
      <p:pic>
        <p:nvPicPr>
          <p:cNvPr id="115717" name="Picture 3"/>
          <p:cNvPicPr>
            <a:picLocks noChangeArrowheads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2663825" y="1570038"/>
            <a:ext cx="5607050" cy="5287962"/>
          </a:xfrm>
          <a:prstGeom prst="rect">
            <a:avLst/>
          </a:prstGeom>
          <a:noFill/>
          <a:ln w="25400">
            <a:noFill/>
            <a:miter lim="800000"/>
            <a:headEnd/>
            <a:tailEnd type="none" w="lg" len="sm"/>
          </a:ln>
        </p:spPr>
      </p:pic>
      <p:sp>
        <p:nvSpPr>
          <p:cNvPr id="115718" name="Rectangle 2"/>
          <p:cNvSpPr txBox="1">
            <a:spLocks noChangeArrowheads="1"/>
          </p:cNvSpPr>
          <p:nvPr/>
        </p:nvSpPr>
        <p:spPr bwMode="auto">
          <a:xfrm>
            <a:off x="711200" y="333375"/>
            <a:ext cx="7989888" cy="119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105000"/>
              </a:lnSpc>
            </a:pPr>
            <a:r>
              <a:rPr lang="hr-HR" sz="3600" b="1">
                <a:latin typeface="Futura"/>
              </a:rPr>
              <a:t>Svijet boja </a:t>
            </a:r>
            <a:r>
              <a:rPr lang="en-US" sz="3600" b="1">
                <a:latin typeface="Futura"/>
              </a:rPr>
              <a:t>HP Indigo</a:t>
            </a:r>
            <a:endParaRPr lang="en-US" sz="3600" b="1" i="1">
              <a:latin typeface="Futur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ADED83-BB7A-4257-9382-421317BBBF1B}" type="slidenum">
              <a:rPr lang="en-US">
                <a:latin typeface="HP Display Beta Regular" pitchFamily="34" charset="0"/>
              </a:rPr>
              <a:pPr>
                <a:defRPr/>
              </a:pPr>
              <a:t>70</a:t>
            </a:fld>
            <a:endParaRPr lang="en-US" dirty="0">
              <a:latin typeface="HP Display Beta Regular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38100"/>
            <a:ext cx="8567738" cy="1587500"/>
          </a:xfrm>
        </p:spPr>
        <p:txBody>
          <a:bodyPr rtlCol="0" anchor="t">
            <a:sp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600" dirty="0">
                <a:solidFill>
                  <a:prstClr val="black"/>
                </a:solidFill>
                <a:latin typeface="HP Display Beta Regular" pitchFamily="34" charset="0"/>
                <a:ea typeface="+mn-ea"/>
                <a:cs typeface="Arial" pitchFamily="34" charset="0"/>
              </a:rPr>
              <a:t>Best Summary of Packaging Industry trend</a:t>
            </a:r>
            <a:br>
              <a:rPr lang="en-US" sz="3600" dirty="0">
                <a:solidFill>
                  <a:prstClr val="black"/>
                </a:solidFill>
                <a:latin typeface="HP Display Beta Regular" pitchFamily="34" charset="0"/>
                <a:ea typeface="+mn-ea"/>
                <a:cs typeface="Arial" pitchFamily="34" charset="0"/>
              </a:rPr>
            </a:br>
            <a:r>
              <a:rPr lang="en-US" sz="3600" dirty="0">
                <a:solidFill>
                  <a:prstClr val="black"/>
                </a:solidFill>
                <a:latin typeface="HP Display Beta Regular" pitchFamily="34" charset="0"/>
                <a:ea typeface="+mn-ea"/>
                <a:cs typeface="Arial" pitchFamily="34" charset="0"/>
              </a:rPr>
              <a:t/>
            </a:r>
            <a:br>
              <a:rPr lang="en-US" sz="3600" dirty="0">
                <a:solidFill>
                  <a:prstClr val="black"/>
                </a:solidFill>
                <a:latin typeface="HP Display Beta Regular" pitchFamily="34" charset="0"/>
                <a:ea typeface="+mn-ea"/>
                <a:cs typeface="Arial" pitchFamily="34" charset="0"/>
              </a:rPr>
            </a:br>
            <a:endParaRPr lang="en-US" sz="3600" dirty="0">
              <a:solidFill>
                <a:prstClr val="black"/>
              </a:solidFill>
              <a:latin typeface="HP Display Beta Regular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244739" name="Straight Connector 17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auto">
          <a:xfrm>
            <a:off x="304800" y="1143000"/>
            <a:ext cx="8305800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244740" name="Rectangle 23"/>
          <p:cNvSpPr>
            <a:spLocks noChangeArrowheads="1"/>
          </p:cNvSpPr>
          <p:nvPr/>
        </p:nvSpPr>
        <p:spPr bwMode="auto">
          <a:xfrm>
            <a:off x="228600" y="1241425"/>
            <a:ext cx="8458200" cy="526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</a:pPr>
            <a:r>
              <a:rPr lang="en-US" sz="2000">
                <a:latin typeface="HP Display Beta Regular"/>
              </a:rPr>
              <a:t>	“</a:t>
            </a:r>
            <a:r>
              <a:rPr lang="en-US" sz="2000" i="1">
                <a:latin typeface="HP Display Beta Regular"/>
              </a:rPr>
              <a:t>When you look at the complexity of the food business, we as a </a:t>
            </a:r>
            <a:r>
              <a:rPr lang="hr-HR" sz="2000" i="1">
                <a:latin typeface="HP Display Beta Regular"/>
              </a:rPr>
              <a:t>  	</a:t>
            </a:r>
            <a:r>
              <a:rPr lang="en-US" sz="2000" i="1">
                <a:latin typeface="HP Display Beta Regular"/>
              </a:rPr>
              <a:t>company need to provide some customized  foods to different customers. </a:t>
            </a:r>
            <a:r>
              <a:rPr lang="en-US" sz="2000" b="1" i="1">
                <a:latin typeface="HP Display Beta Regular"/>
              </a:rPr>
              <a:t>In terms of batch sizes, they are going down and down.</a:t>
            </a:r>
            <a:r>
              <a:rPr lang="en-US" sz="2000" i="1">
                <a:latin typeface="HP Display Beta Regular"/>
              </a:rPr>
              <a:t> Let’s take soup for example. </a:t>
            </a:r>
            <a:r>
              <a:rPr lang="en-US" sz="2000" b="1" i="1">
                <a:latin typeface="HP Display Beta Regular"/>
              </a:rPr>
              <a:t>We have 100 SKUs for soup pouches and within the tomato category alone we have 15 variants.</a:t>
            </a:r>
            <a:r>
              <a:rPr lang="en-US" sz="2000" i="1">
                <a:latin typeface="HP Display Beta Regular"/>
              </a:rPr>
              <a:t> It is becoming very difficult for our flexible packaging vendors to meet the challenges of minimum order quantities. For this reason alone, I would say the future of digital printing is a bright one. </a:t>
            </a:r>
            <a:r>
              <a:rPr lang="en-US" sz="2000" b="1" i="1">
                <a:latin typeface="HP Display Beta Regular"/>
              </a:rPr>
              <a:t>Orders are going from millions to hundreds of thousands  </a:t>
            </a:r>
            <a:r>
              <a:rPr lang="en-US" sz="2000" i="1">
                <a:latin typeface="HP Display Beta Regular"/>
              </a:rPr>
              <a:t>and for </a:t>
            </a:r>
            <a:r>
              <a:rPr lang="en-US" sz="2000" b="1" i="1">
                <a:latin typeface="HP Display Beta Regular"/>
              </a:rPr>
              <a:t>some promotions even into the tens of thousands </a:t>
            </a:r>
            <a:r>
              <a:rPr lang="en-US" sz="2000" i="1">
                <a:latin typeface="HP Display Beta Regular"/>
              </a:rPr>
              <a:t>[units]. There is an increase in this short-run business because we need to be able to compete with small private label companies. They come up with a new variant every month and we need to match this pace because our customers have expectations connected to our brands</a:t>
            </a:r>
            <a:r>
              <a:rPr lang="en-US" sz="2000">
                <a:latin typeface="HP Display Beta Regular"/>
              </a:rPr>
              <a:t>.”</a:t>
            </a:r>
          </a:p>
        </p:txBody>
      </p:sp>
      <p:pic>
        <p:nvPicPr>
          <p:cNvPr id="244741" name="Picture 2" descr="http://t2.gstatic.com/images?q=tbn:ANd9GcTFz15tKFgb2zIU1RKv-CW2826pmZQ5wL3dwmezarnWCLi9qacVC-h7p824">
            <a:hlinkClick r:id="rId4"/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98463" y="1263650"/>
            <a:ext cx="614362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ek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52800" y="5010150"/>
            <a:ext cx="1847850" cy="184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1" descr="Swisslion_takovo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525" y="5486400"/>
            <a:ext cx="1362075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 descr="bosnalijek_sarajevo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24500" y="4267200"/>
            <a:ext cx="2857500" cy="69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1" descr="Afrodita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362200" y="4114800"/>
            <a:ext cx="2209800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 descr="hepok.jp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962150" y="1219200"/>
            <a:ext cx="2381250" cy="109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 descr="KRKA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314950" y="5010150"/>
            <a:ext cx="1847850" cy="184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 descr="Lidl.jp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28600" y="2438400"/>
            <a:ext cx="1352550" cy="1352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" descr="navip1.jp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295400" y="5534025"/>
            <a:ext cx="1933575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 descr="Podravka.jp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296150" y="5372100"/>
            <a:ext cx="1847850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ppklogo.jpg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4819650" y="2209800"/>
            <a:ext cx="158115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 descr="Rubin.jpg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0" y="4705350"/>
            <a:ext cx="184785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2" descr="Tarkett.jpg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038350" y="2667000"/>
            <a:ext cx="2381250" cy="88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 descr="Thommy.jpg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5765800" y="1168400"/>
            <a:ext cx="2159000" cy="119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4" descr="vrsacki_vinogradi.jp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6781800" y="2486025"/>
            <a:ext cx="1933575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2286000" y="381000"/>
            <a:ext cx="45720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r-HR" sz="3600" b="1">
                <a:solidFill>
                  <a:srgbClr val="FFA500"/>
                </a:solidFill>
                <a:latin typeface="HP Display Beta Regular"/>
                <a:cs typeface="Arial" charset="0"/>
              </a:rPr>
              <a:t>HVALA!</a:t>
            </a:r>
            <a:endParaRPr lang="en-US" sz="3600" b="1">
              <a:solidFill>
                <a:srgbClr val="FFA50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0" y="1600200"/>
            <a:ext cx="8275320" cy="5074920"/>
          </a:xfrm>
          <a:prstGeom prst="rect">
            <a:avLst/>
          </a:prstGeom>
          <a:gradFill>
            <a:gsLst>
              <a:gs pos="18000">
                <a:schemeClr val="tx1">
                  <a:alpha val="64000"/>
                </a:schemeClr>
              </a:gs>
              <a:gs pos="50000">
                <a:schemeClr val="tx1"/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17764" name="TextBox 5"/>
          <p:cNvSpPr txBox="1">
            <a:spLocks noChangeArrowheads="1"/>
          </p:cNvSpPr>
          <p:nvPr/>
        </p:nvSpPr>
        <p:spPr bwMode="auto">
          <a:xfrm>
            <a:off x="149225" y="3262313"/>
            <a:ext cx="2517775" cy="15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400">
                <a:solidFill>
                  <a:schemeClr val="bg1"/>
                </a:solidFill>
                <a:latin typeface="Calibri" pitchFamily="34" charset="0"/>
                <a:ea typeface="ＭＳ Ｐゴシック"/>
                <a:cs typeface="ＭＳ Ｐゴシック"/>
              </a:rPr>
              <a:t>CMYK OVG+</a:t>
            </a:r>
            <a:br>
              <a:rPr lang="en-US" sz="2400">
                <a:solidFill>
                  <a:schemeClr val="bg1"/>
                </a:solidFill>
                <a:latin typeface="Calibri" pitchFamily="34" charset="0"/>
                <a:ea typeface="ＭＳ Ｐゴシック"/>
                <a:cs typeface="ＭＳ Ｐゴシック"/>
              </a:rPr>
            </a:br>
            <a:r>
              <a:rPr lang="en-US" sz="2400">
                <a:solidFill>
                  <a:schemeClr val="bg1"/>
                </a:solidFill>
                <a:latin typeface="Calibri" pitchFamily="34" charset="0"/>
                <a:ea typeface="ＭＳ Ｐゴシック"/>
                <a:cs typeface="ＭＳ Ｐゴシック"/>
              </a:rPr>
              <a:t>Bright Yellow/Rhodamin</a:t>
            </a:r>
            <a:r>
              <a:rPr lang="hr-HR" sz="2400">
                <a:solidFill>
                  <a:schemeClr val="bg1"/>
                </a:solidFill>
                <a:latin typeface="Calibri" pitchFamily="34" charset="0"/>
                <a:ea typeface="ＭＳ Ｐゴシック"/>
                <a:cs typeface="ＭＳ Ｐゴシック"/>
              </a:rPr>
              <a:t>e</a:t>
            </a:r>
            <a:r>
              <a:rPr lang="en-US" sz="2400">
                <a:solidFill>
                  <a:schemeClr val="bg1"/>
                </a:solidFill>
                <a:latin typeface="Calibri" pitchFamily="34" charset="0"/>
                <a:ea typeface="ＭＳ Ｐゴシック"/>
                <a:cs typeface="ＭＳ Ｐゴシック"/>
              </a:rPr>
              <a:t> Red/Reflex Blue</a:t>
            </a:r>
          </a:p>
        </p:txBody>
      </p:sp>
      <p:pic>
        <p:nvPicPr>
          <p:cNvPr id="117765" name="Picture 3"/>
          <p:cNvPicPr>
            <a:picLocks noChangeArrowheads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2676525" y="1570038"/>
            <a:ext cx="5607050" cy="5287962"/>
          </a:xfrm>
          <a:prstGeom prst="rect">
            <a:avLst/>
          </a:prstGeom>
          <a:noFill/>
          <a:ln w="25400">
            <a:noFill/>
            <a:miter lim="800000"/>
            <a:headEnd/>
            <a:tailEnd type="none" w="lg" len="sm"/>
          </a:ln>
        </p:spPr>
      </p:pic>
      <p:sp>
        <p:nvSpPr>
          <p:cNvPr id="117766" name="Rectangle 2"/>
          <p:cNvSpPr txBox="1">
            <a:spLocks noChangeArrowheads="1"/>
          </p:cNvSpPr>
          <p:nvPr/>
        </p:nvSpPr>
        <p:spPr bwMode="auto">
          <a:xfrm>
            <a:off x="711200" y="333375"/>
            <a:ext cx="7989888" cy="119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105000"/>
              </a:lnSpc>
            </a:pPr>
            <a:r>
              <a:rPr lang="hr-HR" sz="3600" b="1">
                <a:latin typeface="Futura"/>
              </a:rPr>
              <a:t>Svijet boja </a:t>
            </a:r>
            <a:r>
              <a:rPr lang="en-US" sz="3600" b="1">
                <a:latin typeface="Futura"/>
              </a:rPr>
              <a:t>HP Indigo</a:t>
            </a:r>
            <a:endParaRPr lang="en-US" sz="3600" b="1" i="1">
              <a:latin typeface="Futur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5585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5150" y="2847975"/>
            <a:ext cx="8050213" cy="401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3"/>
          <p:cNvSpPr txBox="1">
            <a:spLocks/>
          </p:cNvSpPr>
          <p:nvPr/>
        </p:nvSpPr>
        <p:spPr>
          <a:xfrm>
            <a:off x="381000" y="379413"/>
            <a:ext cx="7772400" cy="1001712"/>
          </a:xfrm>
          <a:prstGeom prst="rect">
            <a:avLst/>
          </a:prstGeom>
        </p:spPr>
        <p:txBody>
          <a:bodyPr/>
          <a:lstStyle/>
          <a:p>
            <a:r>
              <a:rPr lang="hr-HR" sz="3600" b="1">
                <a:latin typeface="Futura Bk"/>
                <a:ea typeface="ＭＳ Ｐゴシック"/>
                <a:cs typeface="ＭＳ Ｐゴシック"/>
              </a:rPr>
              <a:t>Najveći izbor digitalnih boja</a:t>
            </a:r>
            <a:endParaRPr lang="en-US" sz="3600" b="1">
              <a:latin typeface="Futura Bk"/>
              <a:ea typeface="ＭＳ Ｐゴシック"/>
              <a:cs typeface="ＭＳ Ｐゴシック"/>
            </a:endParaRPr>
          </a:p>
        </p:txBody>
      </p:sp>
      <p:pic>
        <p:nvPicPr>
          <p:cNvPr id="195587" name="Picture 3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6551613" y="427038"/>
            <a:ext cx="2390775" cy="1879600"/>
          </a:xfrm>
          <a:prstGeom prst="rect">
            <a:avLst/>
          </a:prstGeom>
          <a:noFill/>
          <a:ln w="25400">
            <a:noFill/>
            <a:miter lim="800000"/>
            <a:headEnd/>
            <a:tailEnd type="none" w="lg" len="sm"/>
          </a:ln>
        </p:spPr>
      </p:pic>
      <p:sp>
        <p:nvSpPr>
          <p:cNvPr id="195588" name="Rectangle 3"/>
          <p:cNvSpPr txBox="1">
            <a:spLocks noChangeArrowheads="1"/>
          </p:cNvSpPr>
          <p:nvPr/>
        </p:nvSpPr>
        <p:spPr bwMode="auto">
          <a:xfrm>
            <a:off x="442913" y="1039813"/>
            <a:ext cx="5805487" cy="483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lnSpc>
                <a:spcPct val="115000"/>
              </a:lnSpc>
              <a:spcBef>
                <a:spcPct val="20000"/>
              </a:spcBef>
            </a:pPr>
            <a:r>
              <a:rPr lang="en-US" sz="2000">
                <a:latin typeface="Calibri" pitchFamily="34" charset="0"/>
              </a:rPr>
              <a:t>HP Indigo </a:t>
            </a:r>
            <a:r>
              <a:rPr lang="hr-HR" sz="2000">
                <a:latin typeface="Calibri" pitchFamily="34" charset="0"/>
              </a:rPr>
              <a:t>ima rješenja za jedinstveni otisak</a:t>
            </a:r>
            <a:endParaRPr lang="en-US" sz="2000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4h_FcILEqc3ANlNKfkT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9GS4eK0Mk.5BvVWvTXGt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hd3mPwHEOvxeoQ5Tlun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gvrG8qmka53glL0KNK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IouUzi4Eeo1fBtyFyPb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nfLLru0CWsyMSa1M1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ar6alA1Eqbo10_5UrS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TOMUDHREWGxC94DMt8Z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NXP.V8vkyx6YSsjMZtA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6_Nr4tEEawDGfDkXAj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v6OFZaWkWvmccxAHh40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fibpxfIUuor1Ar2E5xZ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nkIee1Fk2H0ZSWAe3XP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WQpbpmj029ag..67K_J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gjRF7nekSdYOg1MqvE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8VClRFbkSEFMnej9Ly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BXn73gXU6.YD.s5vrv0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HjO_VVKUuipoB.KOXx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8VClRFbkSEFMnej9Ly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HjO_VVKUuipoB.KOXx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jE20tOCUWjt856ndurj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8VClRFbkSEFMnej9LyK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HjO_VVKUuipoB.KOXx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x.vusW.EW9V7_8LXEDs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GwyVGLiEy.DTKuNelJS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Zpta9DnE6CZhEKVZAS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4DTUAlCUSNPprUgn.W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ar6alA1Eqbo10_5UrSs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DOCUME~1\Scott\LOCALS~1\Temp\articulate\presenter\imgtemp\vkGTXRxP_files\slide0001_image001.jp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nfLLru0CWsyMSa1M1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wIhAfmaEGpk4SRdOXKF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nfLLru0CWsyMSa1M1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J588Pns0e9KvHSesiEU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X2pOgb3E2xbFAv4b2e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RU2M883U6sxOj.cTsNM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6ulRgJtU2FcJFWzvvW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_YjgQa3USXVhWq6n9J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DOCUME~1\Scott\LOCALS~1\Temp\articulate\presenter\imgtemp\FQNknL7H_files\slide0001_image001.jp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rzig6FmkuWbe4x9Nirc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Fu4pZwAE6Ih7ZpPaaQ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62fet4xkybTDpoXA6me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hfL5TmEmGlfJRnPal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dwoXRKWEKwwWi3FYS__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tmLE9w0ky_vw0qXFn0y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Z0mLHac0a4A0XhfD6mc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nfLLru0CWsyMSa1M1u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X2pOgb3E2xbFAv4b2e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RU2M883U6sxOj.cTsNM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DOCUME~1\Scott\LOCALS~1\Temp\articulate\presenter\imgtemp\FZZKgtqv_files\slide0001_image001.jp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6ulRgJtU2FcJFWzvvWY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_YjgQa3USXVhWq6n9Jj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rzig6FmkuWbe4x9Nirc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Fu4pZwAE6Ih7ZpPaaQL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62fet4xkybTDpoXA6me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hfL5TmEmGlfJRnPalL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dwoXRKWEKwwWi3FYS__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tmLE9w0ky_vw0qXFn0y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Z0mLHac0a4A0XhfD6mc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nfLLru0CWsyMSa1M1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DOCUME~1\Scott\LOCALS~1\Temp\articulate\presenter\imgtemp\55JatiUC_files\slide0001_image001.jp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nfLLru0CWsyMSa1M1u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ar6alA1Eqbo10_5UrSs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nfLLru0CWsyMSa1M1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Rnnh.NyEyaW5vQhzLgd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GAFHIGVkiiLg9HDew2M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wtX5.EHkuurPaNeUfbO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e2xAeMU0mmBTCrFNi2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C:\DOCUME~1\Scott\LOCALS~1\Temp\articulate\presenter\imgtemp\55JatiUC_files\slide0001_image001.jp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S.Qpl3qUK7dlIq33ZwU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ZWEfVaNUSddC6SODgdV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f4K3hSR0W1tm.hHLmb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k4ges.hEGYoFtziKfp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6ZCqea_UCUQjUy6nZBH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jDqZOGMUm3qYPIbxQoe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9VutWkUEy7zpX7tuLqr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4h_FcILEqc3ANlNKfkT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OnPKFHxU6f_l8EJNdP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yeHTK.GUiVDT9nC8lLm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cHaxPskUiIemoL5HHI6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xNKnTXyEyW5Iu09BS4K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rdx2E5bk2wLa6XzBFnd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X_ldqtO0.WDBVxG.8mW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PoBs8qW06bo_qRDhaF8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PoBs8qW06bo_qRDhaF8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lX_PdNT0WtolRpT2jsH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pyhw9HWk6yLxh_ULE9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jE20tOCUWjt856ndurj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LMYcz30.7uXjBEQPJG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NJAs8ynkCKcMoDtJqk9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Mvm1NwIUq8evGW3bRVQ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GAFHIGVkiiLg9HDew2M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QDKmw0r0Gz4qeiXv9MX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76</TotalTime>
  <Words>2668</Words>
  <Application>Microsoft Office PowerPoint</Application>
  <PresentationFormat>On-screen Show (4:3)</PresentationFormat>
  <Paragraphs>850</Paragraphs>
  <Slides>71</Slides>
  <Notes>49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Design Templat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1</vt:i4>
      </vt:variant>
    </vt:vector>
  </HeadingPairs>
  <TitlesOfParts>
    <vt:vector size="90" baseType="lpstr">
      <vt:lpstr>Calibri</vt:lpstr>
      <vt:lpstr>Arial</vt:lpstr>
      <vt:lpstr>HP Simplified</vt:lpstr>
      <vt:lpstr>Futura Bk</vt:lpstr>
      <vt:lpstr>ＭＳ Ｐゴシック</vt:lpstr>
      <vt:lpstr>Futura</vt:lpstr>
      <vt:lpstr>Futura Hv</vt:lpstr>
      <vt:lpstr>Wingdings</vt:lpstr>
      <vt:lpstr>HP Display Beta Light</vt:lpstr>
      <vt:lpstr>HP Display Beta Regular</vt:lpstr>
      <vt:lpstr>Times New Roman</vt:lpstr>
      <vt:lpstr>Futura Md</vt:lpstr>
      <vt:lpstr>Office Theme</vt:lpstr>
      <vt:lpstr>Office Theme</vt:lpstr>
      <vt:lpstr>Office Theme</vt:lpstr>
      <vt:lpstr>Office Theme</vt:lpstr>
      <vt:lpstr>Office Theme</vt:lpstr>
      <vt:lpstr>Office Theme</vt:lpstr>
      <vt:lpstr>think-cell Slide</vt:lpstr>
      <vt:lpstr>Slide 1</vt:lpstr>
      <vt:lpstr>HP Indigo Drupa 2012  General Commercial Printing Portfolio</vt:lpstr>
      <vt:lpstr>Proces prijenosa boje na tiskovnu podlogu</vt:lpstr>
      <vt:lpstr>HP INDIGO - 4, 5, 6 ili 7 kolornih modula</vt:lpstr>
      <vt:lpstr>Slide 5</vt:lpstr>
      <vt:lpstr>Slide 6</vt:lpstr>
      <vt:lpstr>Slide 7</vt:lpstr>
      <vt:lpstr>Slide 8</vt:lpstr>
      <vt:lpstr>Slide 9</vt:lpstr>
      <vt:lpstr>Spot boje Točno podudaranje brand i korporativnih boja 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Što se krije iza EPM moda?</vt:lpstr>
      <vt:lpstr>Slide 21</vt:lpstr>
      <vt:lpstr>Koristeći EPM, kolor gamut je smanjen ~10% </vt:lpstr>
      <vt:lpstr>EPM uzorci</vt:lpstr>
      <vt:lpstr>HP Indigo</vt:lpstr>
      <vt:lpstr>Slide 25</vt:lpstr>
      <vt:lpstr>HP Indigo WS4600  Digital Press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Slide 35</vt:lpstr>
      <vt:lpstr>Slide 36</vt:lpstr>
      <vt:lpstr>HP Indigo WS6600 Digital Press High Level Technical Spec</vt:lpstr>
      <vt:lpstr>HP Indigo 20000 Digital Press</vt:lpstr>
      <vt:lpstr>HP Indigo 20000 Digital Press</vt:lpstr>
      <vt:lpstr>Široki format</vt:lpstr>
      <vt:lpstr>Jednostva izmjena redosljeda boja prilikom tiska</vt:lpstr>
      <vt:lpstr>HP Indigo 20000 Produktivnost     </vt:lpstr>
      <vt:lpstr>Održivost</vt:lpstr>
      <vt:lpstr>HP INDIGO 20000</vt:lpstr>
      <vt:lpstr>HP Indigo 5600 Digital Press</vt:lpstr>
      <vt:lpstr>HP Indigo 5600 dodatne mogućnosti</vt:lpstr>
      <vt:lpstr>Tisak na sintetičke materijale</vt:lpstr>
      <vt:lpstr>HP Indigo 7600 Digital Press</vt:lpstr>
      <vt:lpstr>HP Indigo 7600</vt:lpstr>
      <vt:lpstr>HP Indigo Commercial Portfolio  Counters mapping summary</vt:lpstr>
      <vt:lpstr>HP Indigo Portfolio</vt:lpstr>
      <vt:lpstr>HP Indigo 10000 Digital Press</vt:lpstr>
      <vt:lpstr>HP Indigo 10000 </vt:lpstr>
      <vt:lpstr>Visoka produktivnost – brzina tiska</vt:lpstr>
      <vt:lpstr>Inspiracija za nove proizvode</vt:lpstr>
      <vt:lpstr>Inspiracija za nove proizvode </vt:lpstr>
      <vt:lpstr>Inspiracija za nove proizvode </vt:lpstr>
      <vt:lpstr>Slide 58</vt:lpstr>
      <vt:lpstr>Kartonaža</vt:lpstr>
      <vt:lpstr>HP Indigo 30000 Digital Press</vt:lpstr>
      <vt:lpstr>Slide 61</vt:lpstr>
      <vt:lpstr>The right format</vt:lpstr>
      <vt:lpstr>Fleksibilnost   HP INDIGO 30000</vt:lpstr>
      <vt:lpstr>Slide 64</vt:lpstr>
      <vt:lpstr>Slide 65</vt:lpstr>
      <vt:lpstr>Podudaranje s ofsetom je osnovni zahtjev</vt:lpstr>
      <vt:lpstr>Globalni rast tržišta - prognoza</vt:lpstr>
      <vt:lpstr>Globalni rast tržišta - prognoza</vt:lpstr>
      <vt:lpstr>Obratite pažnju na</vt:lpstr>
      <vt:lpstr>Best Summary of Packaging Industry trend  </vt:lpstr>
      <vt:lpstr>Slide 71</vt:lpstr>
    </vt:vector>
  </TitlesOfParts>
  <Company>pp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goran</dc:creator>
  <cp:lastModifiedBy>TEST</cp:lastModifiedBy>
  <cp:revision>47</cp:revision>
  <dcterms:created xsi:type="dcterms:W3CDTF">2013-02-19T08:18:48Z</dcterms:created>
  <dcterms:modified xsi:type="dcterms:W3CDTF">2013-02-22T06:42:19Z</dcterms:modified>
</cp:coreProperties>
</file>